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7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5.xml" ContentType="application/vnd.openxmlformats-officedocument.drawingml.chart+xml"/>
  <Override PartName="/ppt/drawings/drawing1.xml" ContentType="application/vnd.openxmlformats-officedocument.drawingml.chartshape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9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20.xml" ContentType="application/vnd.openxmlformats-officedocument.drawingml.chart+xml"/>
  <Override PartName="/ppt/drawings/drawing2.xml" ContentType="application/vnd.openxmlformats-officedocument.drawingml.chartshapes+xml"/>
  <Override PartName="/ppt/notesSlides/notesSlide7.xml" ContentType="application/vnd.openxmlformats-officedocument.presentationml.notesSlide+xml"/>
  <Override PartName="/ppt/charts/chart21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2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3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3">
  <p:sldMasterIdLst>
    <p:sldMasterId id="2147483689" r:id="rId1"/>
    <p:sldMasterId id="2147483736" r:id="rId2"/>
    <p:sldMasterId id="2147483768" r:id="rId3"/>
    <p:sldMasterId id="2147483811" r:id="rId4"/>
    <p:sldMasterId id="2147484019" r:id="rId5"/>
    <p:sldMasterId id="2147484090" r:id="rId6"/>
    <p:sldMasterId id="2147484205" r:id="rId7"/>
  </p:sldMasterIdLst>
  <p:notesMasterIdLst>
    <p:notesMasterId r:id="rId25"/>
  </p:notesMasterIdLst>
  <p:sldIdLst>
    <p:sldId id="572" r:id="rId8"/>
    <p:sldId id="267" r:id="rId9"/>
    <p:sldId id="521" r:id="rId10"/>
    <p:sldId id="838840054" r:id="rId11"/>
    <p:sldId id="523" r:id="rId12"/>
    <p:sldId id="530" r:id="rId13"/>
    <p:sldId id="531" r:id="rId14"/>
    <p:sldId id="532" r:id="rId15"/>
    <p:sldId id="533" r:id="rId16"/>
    <p:sldId id="838840053" r:id="rId17"/>
    <p:sldId id="535" r:id="rId18"/>
    <p:sldId id="6346" r:id="rId19"/>
    <p:sldId id="6348" r:id="rId20"/>
    <p:sldId id="541" r:id="rId21"/>
    <p:sldId id="838840050" r:id="rId22"/>
    <p:sldId id="838840052" r:id="rId23"/>
    <p:sldId id="838840049" r:id="rId24"/>
  </p:sldIdLst>
  <p:sldSz cx="12192000" cy="6858000"/>
  <p:notesSz cx="6858000" cy="9144000"/>
  <p:custDataLst>
    <p:tags r:id="rId26"/>
  </p:custDataLst>
  <p:defaultTextStyle>
    <a:defPPr>
      <a:defRPr lang="es-ES_trad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tero Galindo, Juliana" initials="BGJ" lastIdx="6" clrIdx="0">
    <p:extLst>
      <p:ext uri="{19B8F6BF-5375-455C-9EA6-DF929625EA0E}">
        <p15:presenceInfo xmlns:p15="http://schemas.microsoft.com/office/powerpoint/2012/main" userId="S-1-5-21-428738313-578500206-1236795852-1054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388F"/>
    <a:srgbClr val="23ADCE"/>
    <a:srgbClr val="66FFFF"/>
    <a:srgbClr val="8FAADC"/>
    <a:srgbClr val="6CBF44"/>
    <a:srgbClr val="3DB0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FD0F851-EC5A-4D38-B0AD-8093EC10F338}" styleName="Estilo claro 1 - Acento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9D7B26C5-4107-4FEC-AEDC-1716B250A1EF}" styleName="Estilo clar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2DE63D5-997A-4646-A377-4702673A728D}" styleName="Estilo claro 2 - Acento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589" autoAdjust="0"/>
    <p:restoredTop sz="94291" autoAdjust="0"/>
  </p:normalViewPr>
  <p:slideViewPr>
    <p:cSldViewPr snapToGrid="0" snapToObjects="1">
      <p:cViewPr varScale="1">
        <p:scale>
          <a:sx n="74" d="100"/>
          <a:sy n="74" d="100"/>
        </p:scale>
        <p:origin x="270" y="66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col.com.co\informacion_corporativa\CRECIMIENTO_ESTRATEGICO\13.%20Planeaci&#243;n\2020\Preliminares%20Ciclo%202021-2023\7ma%20JD%20Hocol%20Dic2020\PPT\Gr&#225;ficas%20Capex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col.com.co\informacion_corporativa\CRECIMIENTO_ESTRATEGICO\13.%20Planeaci&#243;n\2020\Preliminares%20Ciclo%202021-2023\6ta%20Socializaci&#243;n%20JD\PPT\Gr&#225;ficas%20Capex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hocol.com.co\informacion_corporativa\CRECIMIENTO_ESTRATEGICO\13.%20Planeaci&#243;n\2020\Preliminares%20Ciclo%202021-2023\7ma%20JD%20Hocol%20Dic2020\PPT\Gr&#225;ficas%20Capex%20JD%20dic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col.com.co\informacion_corporativa\CRECIMIENTO_ESTRATEGICO\13.%20Planeaci&#243;n\2020\Preliminares%20Ciclo%202021-2023\7ma%20JD%20Hocol%20Dic2020\PPT\Gr&#225;ficas%20Capex%20JD%20dic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\\hocol.com.co\informacion_corporativa\CRECIMIENTO_ESTRATEGICO\13.%20Planeaci&#243;n\2020\Preliminares%20Ciclo%202021-2023\Socializaci&#243;n%20Exploraci&#243;n\Exploraci&#243;n%2021-23%20-%20V15092020.xlsx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col.com.co\informacion_corporativa\CRECIMIENTO_ESTRATEGICO\13.%20Planeaci&#243;n\2020\Preliminares%20Ciclo%202021-2023\Socializaci&#243;n%20Exploraci&#243;n\Exploraci&#243;n%2021-23%20-%20V15092020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file:///M:\CRECIMIENTO_ESTRATEGICO\13.%20Planeaci&#243;n\2020\Preliminares%20Ciclo%202021-2023\Socializaci&#243;n%20Exploraci&#243;n\Exploraci&#243;n%2021-23%20-%20V15092020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hocol.com.co\informacion_corporativa\CRECIMIENTO_ESTRATEGICO\13.%20Planeaci&#243;n\2020\Preliminares%20Ciclo%202021-2023\Socializaci&#243;n%20Exploraci&#243;n\Exploraci&#243;n%2021-23%20-%20V15092020.xlsx" TargetMode="Externa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col.com.co\informacion_corporativa\CRECIMIENTO_ESTRATEGICO\13.%20Planeaci&#243;n\2020\Preliminares%20Ciclo%202021-2023\Socializaci&#243;n%20Exploraci&#243;n\Exploraci&#243;n%2021-23%20-%20V15092020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col.com.co\informacion_corporativa\CRECIMIENTO_ESTRATEGICO\13.%20Planeaci&#243;n\2020\Preliminares%20Ciclo%202021-2023\Socializaci&#243;n%20Exploraci&#243;n\Exploraci&#243;n%2021-23%20-%20V15092020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oleObject" Target="file:///\\hocol.com.co\informacion_corporativa\CRECIMIENTO_ESTRATEGICO\13.%20Planeaci&#243;n\2020\Preliminares%20Ciclo%202021-2023\Socializaci&#243;n%20Exploraci&#243;n\Exploraci&#243;n%2021-23%20-%20V15092020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Producción (</a:t>
            </a:r>
            <a:r>
              <a:rPr lang="es-CO" dirty="0" err="1"/>
              <a:t>kboepd</a:t>
            </a:r>
            <a:r>
              <a:rPr lang="es-CO" dirty="0"/>
              <a:t>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Base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-* #,##0.0_-;\-* #,##0.0_-;_-* "-"_-;_-@_-</c:formatCode>
                <c:ptCount val="4"/>
                <c:pt idx="0">
                  <c:v>33.290418872376158</c:v>
                </c:pt>
                <c:pt idx="1">
                  <c:v>35.299999999999997</c:v>
                </c:pt>
                <c:pt idx="2">
                  <c:v>29.89</c:v>
                </c:pt>
                <c:pt idx="3">
                  <c:v>26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87-4CF1-BAD5-13370D73726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Incremental</c:v>
                </c:pt>
              </c:strCache>
            </c:strRef>
          </c:tx>
          <c:spPr>
            <a:pattFill prst="pct50">
              <a:fgClr>
                <a:srgbClr val="25A9E0"/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9593091113580512E-2"/>
                  <c:y val="4.62160516717291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900-417A-B657-E8CC79A696A3}"/>
                </c:ext>
              </c:extLst>
            </c:dLbl>
            <c:dLbl>
              <c:idx val="1"/>
              <c:layout>
                <c:manualLayout>
                  <c:x val="-3.9457454818107404E-2"/>
                  <c:y val="4.621605167172911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E900-417A-B657-E8CC79A696A3}"/>
                </c:ext>
              </c:extLst>
            </c:dLbl>
            <c:dLbl>
              <c:idx val="2"/>
              <c:layout>
                <c:manualLayout>
                  <c:x val="-1.2056305252287943E-16"/>
                  <c:y val="3.69728413373833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E900-417A-B657-E8CC79A696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3:$E$3</c:f>
              <c:numCache>
                <c:formatCode>_-* #,##0.0_-;\-* #,##0.0_-;_-* "-"_-;_-@_-</c:formatCode>
                <c:ptCount val="4"/>
                <c:pt idx="0">
                  <c:v>1.266394673425439</c:v>
                </c:pt>
                <c:pt idx="1">
                  <c:v>2.2999999999999998</c:v>
                </c:pt>
                <c:pt idx="2">
                  <c:v>6.4</c:v>
                </c:pt>
                <c:pt idx="3">
                  <c:v>8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87-4CF1-BAD5-13370D73726E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Exploració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8.8779273340741524E-2"/>
                  <c:y val="3.33450632341119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900-417A-B657-E8CC79A696A3}"/>
                </c:ext>
              </c:extLst>
            </c:dLbl>
            <c:dLbl>
              <c:idx val="1"/>
              <c:layout>
                <c:manualLayout>
                  <c:x val="0.10193175828011071"/>
                  <c:y val="1.027997829665096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900-417A-B657-E8CC79A696A3}"/>
                </c:ext>
              </c:extLst>
            </c:dLbl>
            <c:dLbl>
              <c:idx val="2"/>
              <c:layout>
                <c:manualLayout>
                  <c:x val="9.8643637045268365E-2"/>
                  <c:y val="8.285409956393154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900-417A-B657-E8CC79A696A3}"/>
                </c:ext>
              </c:extLst>
            </c:dLbl>
            <c:dLbl>
              <c:idx val="3"/>
              <c:layout>
                <c:manualLayout>
                  <c:x val="9.8643637045268254E-2"/>
                  <c:y val="9.136221994255339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bg1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900-417A-B657-E8CC79A696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6CBF44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4:$E$4</c:f>
              <c:numCache>
                <c:formatCode>_-* #,##0.0_-;\-* #,##0.0_-;_-* "-"_-;_-@_-</c:formatCode>
                <c:ptCount val="4"/>
                <c:pt idx="0">
                  <c:v>0</c:v>
                </c:pt>
                <c:pt idx="1">
                  <c:v>0.80700000000000005</c:v>
                </c:pt>
                <c:pt idx="2">
                  <c:v>0.34399999999999997</c:v>
                </c:pt>
                <c:pt idx="3">
                  <c:v>0.19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AA-471A-B5A9-D8E6EC4374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433952"/>
        <c:axId val="570437480"/>
      </c:barChart>
      <c:lineChart>
        <c:grouping val="standard"/>
        <c:varyColors val="0"/>
        <c:ser>
          <c:idx val="3"/>
          <c:order val="3"/>
          <c:tx>
            <c:strRef>
              <c:f>Hoja1!$A$5</c:f>
              <c:strCache>
                <c:ptCount val="1"/>
                <c:pt idx="0">
                  <c:v>Plan 21-23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25A9E0"/>
              </a:solidFill>
              <a:ln w="9525">
                <a:solidFill>
                  <a:srgbClr val="25A9E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9186182227161023E-2"/>
                  <c:y val="-5.545926200607504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900-417A-B657-E8CC79A696A3}"/>
                </c:ext>
              </c:extLst>
            </c:dLbl>
            <c:dLbl>
              <c:idx val="1"/>
              <c:layout>
                <c:manualLayout>
                  <c:x val="-1.3152484939369175E-2"/>
                  <c:y val="-5.08376568389021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E900-417A-B657-E8CC79A696A3}"/>
                </c:ext>
              </c:extLst>
            </c:dLbl>
            <c:dLbl>
              <c:idx val="2"/>
              <c:layout>
                <c:manualLayout>
                  <c:x val="-9.8643637045268372E-3"/>
                  <c:y val="-7.39456826747667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E900-417A-B657-E8CC79A696A3}"/>
                </c:ext>
              </c:extLst>
            </c:dLbl>
            <c:dLbl>
              <c:idx val="3"/>
              <c:layout>
                <c:manualLayout>
                  <c:x val="-2.3016848643895953E-2"/>
                  <c:y val="-2.77296310030375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900-417A-B657-E8CC79A696A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25A9E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5:$E$5</c:f>
              <c:numCache>
                <c:formatCode>_-* #,##0.0_-;\-* #,##0.0_-;_-* "-"_-;_-@_-</c:formatCode>
                <c:ptCount val="4"/>
                <c:pt idx="0">
                  <c:v>34.556813545801596</c:v>
                </c:pt>
                <c:pt idx="1">
                  <c:v>38.406999999999996</c:v>
                </c:pt>
                <c:pt idx="2">
                  <c:v>36.634</c:v>
                </c:pt>
                <c:pt idx="3">
                  <c:v>35.594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900-417A-B657-E8CC79A696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70433952"/>
        <c:axId val="570437480"/>
      </c:lineChart>
      <c:catAx>
        <c:axId val="570433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70437480"/>
        <c:crosses val="autoZero"/>
        <c:auto val="1"/>
        <c:lblAlgn val="ctr"/>
        <c:lblOffset val="100"/>
        <c:noMultiLvlLbl val="0"/>
      </c:catAx>
      <c:valAx>
        <c:axId val="570437480"/>
        <c:scaling>
          <c:orientation val="minMax"/>
          <c:min val="20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_-* #,##0.0_-;\-* #,##0.0_-;_-* &quot;-&quot;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70433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5875">
      <a:solidFill>
        <a:srgbClr val="2B388F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s-CO" sz="1862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s-CO" sz="1862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Utilidad Neta (</a:t>
            </a:r>
            <a:r>
              <a:rPr lang="es-CO" sz="1862" b="0" i="0" u="none" strike="noStrike" kern="1200" spc="0" baseline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Musd</a:t>
            </a:r>
            <a:r>
              <a:rPr lang="es-CO" sz="1862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s-CO" sz="1862" b="0" i="0" u="none" strike="noStrike" kern="1200" spc="0" baseline="0" dirty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-* #,##0.0_-;\-* #,##0.0_-;_-* "-"_-;_-@_-</c:formatCode>
                <c:ptCount val="4"/>
                <c:pt idx="0">
                  <c:v>83.212629608389278</c:v>
                </c:pt>
                <c:pt idx="1">
                  <c:v>55.866202920194453</c:v>
                </c:pt>
                <c:pt idx="2">
                  <c:v>32.995991671771797</c:v>
                </c:pt>
                <c:pt idx="3">
                  <c:v>70.2838427405075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AF7-403A-B854-7BA22F9F50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1867784"/>
        <c:axId val="581868960"/>
      </c:barChart>
      <c:lineChart>
        <c:grouping val="standard"/>
        <c:varyColors val="0"/>
        <c:ser>
          <c:idx val="1"/>
          <c:order val="1"/>
          <c:tx>
            <c:strRef>
              <c:f>Hoja1!$A$3</c:f>
              <c:strCache>
                <c:ptCount val="1"/>
                <c:pt idx="0">
                  <c:v>RS</c:v>
                </c:pt>
              </c:strCache>
            </c:strRef>
          </c:tx>
          <c:spPr>
            <a:ln w="28575" cap="rnd">
              <a:solidFill>
                <a:srgbClr val="2B388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B388F"/>
              </a:solidFill>
              <a:ln w="9525">
                <a:solidFill>
                  <a:srgbClr val="2B388F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7398826873197729E-2"/>
                  <c:y val="-8.97371750832594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EA8-4104-829C-DD8F9C8908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2B388F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3:$E$3</c:f>
            </c:numRef>
          </c:val>
          <c:smooth val="0"/>
          <c:extLst>
            <c:ext xmlns:c16="http://schemas.microsoft.com/office/drawing/2014/chart" uri="{C3380CC4-5D6E-409C-BE32-E72D297353CC}">
              <c16:uniqueId val="{00000001-2AF7-403A-B854-7BA22F9F50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867784"/>
        <c:axId val="581868960"/>
      </c:lineChart>
      <c:catAx>
        <c:axId val="581867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8960"/>
        <c:crosses val="autoZero"/>
        <c:auto val="1"/>
        <c:lblAlgn val="ctr"/>
        <c:lblOffset val="100"/>
        <c:noMultiLvlLbl val="0"/>
      </c:catAx>
      <c:valAx>
        <c:axId val="581868960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_-* #,##0.0_-;\-* #,##0.0_-;_-* &quot;-&quot;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77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9050">
      <a:solidFill>
        <a:srgbClr val="3DB0AB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s-CO" sz="1862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s-CO" sz="1862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Precio </a:t>
            </a:r>
            <a:r>
              <a:rPr lang="es-CO" sz="1862" b="0" i="0" u="none" strike="noStrike" kern="1200" spc="0" baseline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Ref</a:t>
            </a:r>
            <a:r>
              <a:rPr lang="es-CO" sz="1862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 Br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s-CO" sz="1862" b="0" i="0" u="none" strike="noStrike" kern="1200" spc="0" baseline="0" dirty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(* #,##0_);_(* \(#,##0\);_(* "-"_);_(@_)</c:formatCode>
                <c:ptCount val="4"/>
                <c:pt idx="0">
                  <c:v>42</c:v>
                </c:pt>
                <c:pt idx="1">
                  <c:v>45.000000000000007</c:v>
                </c:pt>
                <c:pt idx="2">
                  <c:v>50</c:v>
                </c:pt>
                <c:pt idx="3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B8-4636-AA9E-DCF8EDF21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2929448"/>
        <c:axId val="582934544"/>
      </c:barChart>
      <c:lineChart>
        <c:grouping val="standard"/>
        <c:varyColors val="0"/>
        <c:ser>
          <c:idx val="1"/>
          <c:order val="1"/>
          <c:tx>
            <c:strRef>
              <c:f>Hoja1!$A$3</c:f>
              <c:strCache>
                <c:ptCount val="1"/>
                <c:pt idx="0">
                  <c:v>RS</c:v>
                </c:pt>
              </c:strCache>
            </c:strRef>
          </c:tx>
          <c:spPr>
            <a:ln w="28575" cap="rnd">
              <a:solidFill>
                <a:srgbClr val="2B388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B388F"/>
              </a:solidFill>
              <a:ln w="9525">
                <a:solidFill>
                  <a:srgbClr val="2B388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2B388F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3:$E$3</c:f>
            </c:numRef>
          </c:val>
          <c:smooth val="0"/>
          <c:extLst>
            <c:ext xmlns:c16="http://schemas.microsoft.com/office/drawing/2014/chart" uri="{C3380CC4-5D6E-409C-BE32-E72D297353CC}">
              <c16:uniqueId val="{00000001-1DB8-4636-AA9E-DCF8EDF213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2929448"/>
        <c:axId val="582934544"/>
      </c:lineChart>
      <c:catAx>
        <c:axId val="582929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2934544"/>
        <c:crosses val="autoZero"/>
        <c:auto val="1"/>
        <c:lblAlgn val="ctr"/>
        <c:lblOffset val="100"/>
        <c:noMultiLvlLbl val="0"/>
      </c:catAx>
      <c:valAx>
        <c:axId val="582934544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29294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5875">
      <a:solidFill>
        <a:srgbClr val="3DB0AB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EBITDA (</a:t>
            </a:r>
            <a:r>
              <a:rPr lang="es-CO" dirty="0" err="1"/>
              <a:t>Musd</a:t>
            </a:r>
            <a:r>
              <a:rPr lang="es-CO" dirty="0"/>
              <a:t>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-* #,##0.0_-;\-* #,##0.0_-;_-* "-"_-;_-@_-</c:formatCode>
                <c:ptCount val="4"/>
                <c:pt idx="0">
                  <c:v>225.09695901866942</c:v>
                </c:pt>
                <c:pt idx="1">
                  <c:v>198.49429904359465</c:v>
                </c:pt>
                <c:pt idx="2">
                  <c:v>153.7184899728272</c:v>
                </c:pt>
                <c:pt idx="3">
                  <c:v>202.04290109081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F4-495F-8499-FDDFD6813B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2932584"/>
        <c:axId val="582935720"/>
      </c:barChart>
      <c:catAx>
        <c:axId val="582932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2935720"/>
        <c:crosses val="autoZero"/>
        <c:auto val="1"/>
        <c:lblAlgn val="ctr"/>
        <c:lblOffset val="100"/>
        <c:noMultiLvlLbl val="0"/>
      </c:catAx>
      <c:valAx>
        <c:axId val="582935720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_-* #,##0.0_-;\-* #,##0.0_-;_-* &quot;-&quot;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29325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9050">
      <a:solidFill>
        <a:srgbClr val="6CBF44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1400" b="1"/>
              <a:t>Planeación 2021 – 2023 (JD Diciembre 20)</a:t>
            </a:r>
          </a:p>
        </c:rich>
      </c:tx>
      <c:layout>
        <c:manualLayout>
          <c:xMode val="edge"/>
          <c:yMode val="edge"/>
          <c:x val="0.24769201041809308"/>
          <c:y val="3.434680755889395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areaChart>
        <c:grouping val="stacked"/>
        <c:varyColors val="0"/>
        <c:ser>
          <c:idx val="7"/>
          <c:order val="7"/>
          <c:tx>
            <c:strRef>
              <c:f>Hocol!$A$26</c:f>
              <c:strCache>
                <c:ptCount val="1"/>
                <c:pt idx="0">
                  <c:v>Prod Base</c:v>
                </c:pt>
              </c:strCache>
            </c:strRef>
          </c:tx>
          <c:spPr>
            <a:solidFill>
              <a:srgbClr val="25A9E0"/>
            </a:solidFill>
            <a:ln>
              <a:solidFill>
                <a:srgbClr val="2B388F"/>
              </a:solidFill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col!$B$18:$F$18</c:f>
              <c:strCache>
                <c:ptCount val="5"/>
                <c:pt idx="0">
                  <c:v>2019</c:v>
                </c:pt>
                <c:pt idx="1">
                  <c:v> LE 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col!$B$26:$F$26</c:f>
              <c:numCache>
                <c:formatCode>_-* #,##0.0_-;\-* #,##0.0_-;_-* "-"_-;_-@_-</c:formatCode>
                <c:ptCount val="5"/>
                <c:pt idx="0">
                  <c:v>26.691636391192816</c:v>
                </c:pt>
                <c:pt idx="1">
                  <c:v>33.290418872376158</c:v>
                </c:pt>
                <c:pt idx="2">
                  <c:v>35.344999999999999</c:v>
                </c:pt>
                <c:pt idx="3" formatCode="General">
                  <c:v>29.89</c:v>
                </c:pt>
                <c:pt idx="4">
                  <c:v>26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4B-4A78-8528-0E622EFF6568}"/>
            </c:ext>
          </c:extLst>
        </c:ser>
        <c:ser>
          <c:idx val="9"/>
          <c:order val="8"/>
          <c:tx>
            <c:strRef>
              <c:f>Hocol!$A$27</c:f>
              <c:strCache>
                <c:ptCount val="1"/>
                <c:pt idx="0">
                  <c:v>Prod Incremental</c:v>
                </c:pt>
              </c:strCache>
            </c:strRef>
          </c:tx>
          <c:spPr>
            <a:solidFill>
              <a:srgbClr val="6CBF41"/>
            </a:solidFill>
            <a:ln>
              <a:noFill/>
            </a:ln>
            <a:effectLst/>
          </c:spPr>
          <c:cat>
            <c:strRef>
              <c:f>Hocol!$B$18:$F$18</c:f>
              <c:strCache>
                <c:ptCount val="5"/>
                <c:pt idx="0">
                  <c:v>2019</c:v>
                </c:pt>
                <c:pt idx="1">
                  <c:v> LE 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col!$B$27:$F$27</c:f>
              <c:numCache>
                <c:formatCode>_-* #,##0.0_-;\-* #,##0.0_-;_-* "-"_-;_-@_-</c:formatCode>
                <c:ptCount val="5"/>
                <c:pt idx="0">
                  <c:v>2.7796260837895859</c:v>
                </c:pt>
                <c:pt idx="1">
                  <c:v>1.266394673425439</c:v>
                </c:pt>
                <c:pt idx="2">
                  <c:v>2.2439999999999998</c:v>
                </c:pt>
                <c:pt idx="3" formatCode="_-* #,##0.0_-;\-* #,##0.0_-;_-* &quot;-&quot;?_-;_-@_-">
                  <c:v>6.3339999999999961</c:v>
                </c:pt>
                <c:pt idx="4">
                  <c:v>8.86600000000000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4B-4A78-8528-0E622EFF6568}"/>
            </c:ext>
          </c:extLst>
        </c:ser>
        <c:ser>
          <c:idx val="8"/>
          <c:order val="9"/>
          <c:tx>
            <c:strRef>
              <c:f>Hocol!$A$28</c:f>
              <c:strCache>
                <c:ptCount val="1"/>
                <c:pt idx="0">
                  <c:v>Exploración</c:v>
                </c:pt>
              </c:strCache>
            </c:strRef>
          </c:tx>
          <c:spPr>
            <a:solidFill>
              <a:srgbClr val="C00000"/>
            </a:solidFill>
            <a:ln w="25400">
              <a:noFill/>
            </a:ln>
            <a:effectLst/>
          </c:spPr>
          <c:cat>
            <c:strRef>
              <c:f>Hocol!$B$18:$F$18</c:f>
              <c:strCache>
                <c:ptCount val="5"/>
                <c:pt idx="0">
                  <c:v>2019</c:v>
                </c:pt>
                <c:pt idx="1">
                  <c:v> LE 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col!$B$28:$F$28</c:f>
              <c:numCache>
                <c:formatCode>_-* #,##0.0_-;\-* #,##0.0_-;_-* "-"_-;_-@_-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.80700000000000005</c:v>
                </c:pt>
                <c:pt idx="3">
                  <c:v>0.34399999999999997</c:v>
                </c:pt>
                <c:pt idx="4">
                  <c:v>0.19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4B-4A78-8528-0E622EFF65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2930232"/>
        <c:axId val="582929840"/>
        <c:extLst>
          <c:ext xmlns:c15="http://schemas.microsoft.com/office/drawing/2012/chart" uri="{02D57815-91ED-43cb-92C2-25804820EDAC}">
            <c15:filteredArea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Hocol!$A$19</c15:sqref>
                        </c15:formulaRef>
                      </c:ext>
                    </c:extLst>
                    <c:strCache>
                      <c:ptCount val="1"/>
                      <c:pt idx="0">
                        <c:v>Zona Sur Total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s-E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Hocol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Hocol!$B$19:$F$19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20645.897926411661</c:v>
                      </c:pt>
                      <c:pt idx="1">
                        <c:v>19185.408113777496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F14B-4A78-8528-0E622EFF6568}"/>
                  </c:ext>
                </c:extLst>
              </c15:ser>
            </c15:filteredAreaSeries>
            <c15:filteredArea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A$20</c15:sqref>
                        </c15:formulaRef>
                      </c:ext>
                    </c:extLst>
                    <c:strCache>
                      <c:ptCount val="1"/>
                      <c:pt idx="0">
                        <c:v>Zona Sur Base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20:$F$20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19106.745394767513</c:v>
                      </c:pt>
                      <c:pt idx="1">
                        <c:v>17937.44356423221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F14B-4A78-8528-0E622EFF6568}"/>
                  </c:ext>
                </c:extLst>
              </c15:ser>
            </c15:filteredAreaSeries>
            <c15:filteredArea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A$21</c15:sqref>
                        </c15:formulaRef>
                      </c:ext>
                    </c:extLst>
                    <c:strCache>
                      <c:ptCount val="1"/>
                      <c:pt idx="0">
                        <c:v>Zona Sur Incremen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21:$F$21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1539.1525316441468</c:v>
                      </c:pt>
                      <c:pt idx="1">
                        <c:v>1247.964549545282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F14B-4A78-8528-0E622EFF6568}"/>
                  </c:ext>
                </c:extLst>
              </c15:ser>
            </c15:filteredAreaSeries>
            <c15:filteredArea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A$22</c15:sqref>
                        </c15:formulaRef>
                      </c:ext>
                    </c:extLst>
                    <c:strCache>
                      <c:ptCount val="1"/>
                      <c:pt idx="0">
                        <c:v>Zona Norte Total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s-E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22:$F$22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8825.364548570742</c:v>
                      </c:pt>
                      <c:pt idx="1">
                        <c:v>15371.40543202409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F14B-4A78-8528-0E622EFF6568}"/>
                  </c:ext>
                </c:extLst>
              </c15:ser>
            </c15:filteredAreaSeries>
            <c15:filteredArea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A$23</c15:sqref>
                        </c15:formulaRef>
                      </c:ext>
                    </c:extLst>
                    <c:strCache>
                      <c:ptCount val="1"/>
                      <c:pt idx="0">
                        <c:v>Zona Norte Base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 w="25400">
                    <a:noFill/>
                  </a:ln>
                  <a:effectLst/>
                </c:spP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23:$F$23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7584.8909964253035</c:v>
                      </c:pt>
                      <c:pt idx="1">
                        <c:v>15352.97530814393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F14B-4A78-8528-0E622EFF6568}"/>
                  </c:ext>
                </c:extLst>
              </c15:ser>
            </c15:filteredAreaSeries>
            <c15:filteredArea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A$24</c15:sqref>
                        </c15:formulaRef>
                      </c:ext>
                    </c:extLst>
                    <c:strCache>
                      <c:ptCount val="1"/>
                      <c:pt idx="0">
                        <c:v>Zona Norte Incremental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 w="25400">
                    <a:noFill/>
                  </a:ln>
                  <a:effectLst/>
                </c:spP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Hocol!$B$24:$F$24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1240.4735521454388</c:v>
                      </c:pt>
                      <c:pt idx="1">
                        <c:v>18.43012388015621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F14B-4A78-8528-0E622EFF6568}"/>
                  </c:ext>
                </c:extLst>
              </c15:ser>
            </c15:filteredAreaSeries>
          </c:ext>
        </c:extLst>
      </c:areaChart>
      <c:lineChart>
        <c:grouping val="stacked"/>
        <c:varyColors val="0"/>
        <c:ser>
          <c:idx val="6"/>
          <c:order val="6"/>
          <c:tx>
            <c:strRef>
              <c:f>Hocol!$A$25</c:f>
              <c:strCache>
                <c:ptCount val="1"/>
                <c:pt idx="0">
                  <c:v>Hocol Tota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B388F"/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rgbClr val="2B388F"/>
                </a:solidFill>
                <a:ln w="9525">
                  <a:solidFill>
                    <a:schemeClr val="accent1">
                      <a:lumMod val="6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F14B-4A78-8528-0E622EFF6568}"/>
              </c:ext>
            </c:extLst>
          </c:dPt>
          <c:dLbls>
            <c:dLbl>
              <c:idx val="0"/>
              <c:layout>
                <c:manualLayout>
                  <c:x val="-5.3395776666244781E-2"/>
                  <c:y val="-6.25000000000000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4B-4A78-8528-0E622EFF6568}"/>
                </c:ext>
              </c:extLst>
            </c:dLbl>
            <c:dLbl>
              <c:idx val="1"/>
              <c:layout>
                <c:manualLayout>
                  <c:x val="-5.058547263117924E-2"/>
                  <c:y val="-6.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4B-4A78-8528-0E622EFF6568}"/>
                </c:ext>
              </c:extLst>
            </c:dLbl>
            <c:dLbl>
              <c:idx val="2"/>
              <c:layout>
                <c:manualLayout>
                  <c:x val="-6.7447296841572316E-2"/>
                  <c:y val="-4.1666666666666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4B-4A78-8528-0E622EFF6568}"/>
                </c:ext>
              </c:extLst>
            </c:dLbl>
            <c:dLbl>
              <c:idx val="3"/>
              <c:layout>
                <c:manualLayout>
                  <c:x val="-4.4964864561048215E-2"/>
                  <c:y val="-5.41666666666666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4B-4A78-8528-0E622EFF6568}"/>
                </c:ext>
              </c:extLst>
            </c:dLbl>
            <c:dLbl>
              <c:idx val="4"/>
              <c:layout>
                <c:manualLayout>
                  <c:x val="-5.9016384736375882E-2"/>
                  <c:y val="-5.41666666666666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4B-4A78-8528-0E622EFF65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2B388F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col!$B$18:$F$18</c:f>
              <c:strCache>
                <c:ptCount val="5"/>
                <c:pt idx="0">
                  <c:v>2019</c:v>
                </c:pt>
                <c:pt idx="1">
                  <c:v> LE 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Hocol!$B$25:$F$25</c:f>
              <c:numCache>
                <c:formatCode>_-* #,##0.0_-;\-* #,##0.0_-;_-* "-"_-;_-@_-</c:formatCode>
                <c:ptCount val="5"/>
                <c:pt idx="0">
                  <c:v>29.471262474982403</c:v>
                </c:pt>
                <c:pt idx="1">
                  <c:v>34.556813545801596</c:v>
                </c:pt>
                <c:pt idx="2">
                  <c:v>38.396000000000001</c:v>
                </c:pt>
                <c:pt idx="3">
                  <c:v>36.567999999999998</c:v>
                </c:pt>
                <c:pt idx="4">
                  <c:v>35.59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14B-4A78-8528-0E622EFF65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2930232"/>
        <c:axId val="582929840"/>
      </c:lineChart>
      <c:catAx>
        <c:axId val="5829302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2929840"/>
        <c:crosses val="autoZero"/>
        <c:auto val="1"/>
        <c:lblAlgn val="ctr"/>
        <c:lblOffset val="100"/>
        <c:noMultiLvlLbl val="0"/>
      </c:catAx>
      <c:valAx>
        <c:axId val="582929840"/>
        <c:scaling>
          <c:orientation val="minMax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Boep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</c:title>
        <c:numFmt formatCode="_-* #,##0.0_-;\-* #,##0.0_-;_-* &quot;-&quot;_-;_-@_-" sourceLinked="1"/>
        <c:majorTickMark val="none"/>
        <c:minorTickMark val="none"/>
        <c:tickLblPos val="nextTo"/>
        <c:crossAx val="582930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es-E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sz="1400" b="1" dirty="0"/>
              <a:t>Planeación 2021 – 2023 ( JD Octubre 30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areaChart>
        <c:grouping val="stacked"/>
        <c:varyColors val="0"/>
        <c:ser>
          <c:idx val="7"/>
          <c:order val="7"/>
          <c:tx>
            <c:strRef>
              <c:f>'[Gráficas Capex.xlsx]Hoja1'!$A$26</c:f>
              <c:strCache>
                <c:ptCount val="1"/>
                <c:pt idx="0">
                  <c:v>Prod Base</c:v>
                </c:pt>
              </c:strCache>
            </c:strRef>
          </c:tx>
          <c:spPr>
            <a:solidFill>
              <a:srgbClr val="25A9E0"/>
            </a:solidFill>
            <a:ln>
              <a:solidFill>
                <a:srgbClr val="2B388F"/>
              </a:solidFill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áficas Capex.xlsx]Hoja1'!$B$18:$F$18</c:f>
              <c:strCache>
                <c:ptCount val="5"/>
                <c:pt idx="0">
                  <c:v>2019</c:v>
                </c:pt>
                <c:pt idx="1">
                  <c:v> LE 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[Gráficas Capex.xlsx]Hoja1'!$B$26:$F$26</c:f>
              <c:numCache>
                <c:formatCode>_-* #,##0.0_-;\-* #,##0.0_-;_-* "-"_-;_-@_-</c:formatCode>
                <c:ptCount val="5"/>
                <c:pt idx="0">
                  <c:v>26.691636391192816</c:v>
                </c:pt>
                <c:pt idx="1">
                  <c:v>33.290418872376158</c:v>
                </c:pt>
                <c:pt idx="2">
                  <c:v>35.038584059510498</c:v>
                </c:pt>
                <c:pt idx="3">
                  <c:v>30.430374598</c:v>
                </c:pt>
                <c:pt idx="4">
                  <c:v>27.0183375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4B-4A78-8528-0E622EFF6568}"/>
            </c:ext>
          </c:extLst>
        </c:ser>
        <c:ser>
          <c:idx val="9"/>
          <c:order val="8"/>
          <c:tx>
            <c:strRef>
              <c:f>'[Gráficas Capex.xlsx]Hoja1'!$A$27</c:f>
              <c:strCache>
                <c:ptCount val="1"/>
                <c:pt idx="0">
                  <c:v>Prod Incremental</c:v>
                </c:pt>
              </c:strCache>
            </c:strRef>
          </c:tx>
          <c:spPr>
            <a:solidFill>
              <a:srgbClr val="6CBF41"/>
            </a:solidFill>
            <a:ln>
              <a:noFill/>
            </a:ln>
            <a:effectLst/>
          </c:spPr>
          <c:cat>
            <c:strRef>
              <c:f>'[Gráficas Capex.xlsx]Hoja1'!$B$18:$F$18</c:f>
              <c:strCache>
                <c:ptCount val="5"/>
                <c:pt idx="0">
                  <c:v>2019</c:v>
                </c:pt>
                <c:pt idx="1">
                  <c:v> LE 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[Gráficas Capex.xlsx]Hoja1'!$B$27:$F$27</c:f>
              <c:numCache>
                <c:formatCode>_-* #,##0.0_-;\-* #,##0.0_-;_-* "-"_-;_-@_-</c:formatCode>
                <c:ptCount val="5"/>
                <c:pt idx="0">
                  <c:v>2.7796260837895859</c:v>
                </c:pt>
                <c:pt idx="1">
                  <c:v>1.266394673425439</c:v>
                </c:pt>
                <c:pt idx="2">
                  <c:v>2.4451621440000002</c:v>
                </c:pt>
                <c:pt idx="3">
                  <c:v>6.9600272630000006</c:v>
                </c:pt>
                <c:pt idx="4">
                  <c:v>8.5013083489999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4B-4A78-8528-0E622EFF6568}"/>
            </c:ext>
          </c:extLst>
        </c:ser>
        <c:ser>
          <c:idx val="8"/>
          <c:order val="9"/>
          <c:tx>
            <c:strRef>
              <c:f>'[Gráficas Capex.xlsx]Hoja1'!$A$28</c:f>
              <c:strCache>
                <c:ptCount val="1"/>
                <c:pt idx="0">
                  <c:v>Exploración</c:v>
                </c:pt>
              </c:strCache>
            </c:strRef>
          </c:tx>
          <c:spPr>
            <a:solidFill>
              <a:srgbClr val="C00000"/>
            </a:solidFill>
            <a:ln w="25400">
              <a:noFill/>
            </a:ln>
            <a:effectLst/>
          </c:spPr>
          <c:cat>
            <c:strRef>
              <c:f>'[Gráficas Capex.xlsx]Hoja1'!$B$18:$F$18</c:f>
              <c:strCache>
                <c:ptCount val="5"/>
                <c:pt idx="0">
                  <c:v>2019</c:v>
                </c:pt>
                <c:pt idx="1">
                  <c:v> LE 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[Gráficas Capex.xlsx]Hoja1'!$B$28:$F$28</c:f>
              <c:numCache>
                <c:formatCode>_-* #,##0.0_-;\-* #,##0.0_-;_-* "-"_-;_-@_-</c:formatCode>
                <c:ptCount val="5"/>
                <c:pt idx="0">
                  <c:v>0</c:v>
                </c:pt>
                <c:pt idx="1">
                  <c:v>0</c:v>
                </c:pt>
                <c:pt idx="2">
                  <c:v>0.80700000000000005</c:v>
                </c:pt>
                <c:pt idx="3">
                  <c:v>0.34399999999999997</c:v>
                </c:pt>
                <c:pt idx="4">
                  <c:v>0.194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4B-4A78-8528-0E622EFF65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2936112"/>
        <c:axId val="582929056"/>
        <c:extLst>
          <c:ext xmlns:c15="http://schemas.microsoft.com/office/drawing/2012/chart" uri="{02D57815-91ED-43cb-92C2-25804820EDAC}">
            <c15:filteredArea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Gráficas Capex.xlsx]Hoja1'!$A$19</c15:sqref>
                        </c15:formulaRef>
                      </c:ext>
                    </c:extLst>
                    <c:strCache>
                      <c:ptCount val="1"/>
                      <c:pt idx="0">
                        <c:v>Zona Sur Total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s-E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[Gráficas Capex.xlsx]Hoja1'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Gráficas Capex.xlsx]Hoja1'!$B$19:$F$19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20645.897926411661</c:v>
                      </c:pt>
                      <c:pt idx="1">
                        <c:v>19185.408113777496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9-F14B-4A78-8528-0E622EFF6568}"/>
                  </c:ext>
                </c:extLst>
              </c15:ser>
            </c15:filteredAreaSeries>
            <c15:filteredArea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A$20</c15:sqref>
                        </c15:formulaRef>
                      </c:ext>
                    </c:extLst>
                    <c:strCache>
                      <c:ptCount val="1"/>
                      <c:pt idx="0">
                        <c:v>Zona Sur Base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20:$F$20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19106.745394767513</c:v>
                      </c:pt>
                      <c:pt idx="1">
                        <c:v>17937.44356423221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F14B-4A78-8528-0E622EFF6568}"/>
                  </c:ext>
                </c:extLst>
              </c15:ser>
            </c15:filteredAreaSeries>
            <c15:filteredArea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A$21</c15:sqref>
                        </c15:formulaRef>
                      </c:ext>
                    </c:extLst>
                    <c:strCache>
                      <c:ptCount val="1"/>
                      <c:pt idx="0">
                        <c:v>Zona Sur Incremental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21:$F$21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1539.1525316441468</c:v>
                      </c:pt>
                      <c:pt idx="1">
                        <c:v>1247.964549545282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F14B-4A78-8528-0E622EFF6568}"/>
                  </c:ext>
                </c:extLst>
              </c15:ser>
            </c15:filteredAreaSeries>
            <c15:filteredArea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A$22</c15:sqref>
                        </c15:formulaRef>
                      </c:ext>
                    </c:extLst>
                    <c:strCache>
                      <c:ptCount val="1"/>
                      <c:pt idx="0">
                        <c:v>Zona Norte Total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00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es-E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  <c15:leaderLines>
                        <c:spPr>
                          <a:ln w="9525" cap="flat" cmpd="sng" algn="ctr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  <a:round/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22:$F$22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8825.364548570742</c:v>
                      </c:pt>
                      <c:pt idx="1">
                        <c:v>15371.40543202409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F14B-4A78-8528-0E622EFF6568}"/>
                  </c:ext>
                </c:extLst>
              </c15:ser>
            </c15:filteredAreaSeries>
            <c15:filteredArea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A$23</c15:sqref>
                        </c15:formulaRef>
                      </c:ext>
                    </c:extLst>
                    <c:strCache>
                      <c:ptCount val="1"/>
                      <c:pt idx="0">
                        <c:v>Zona Norte Base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 w="25400">
                    <a:noFill/>
                  </a:ln>
                  <a:effectLst/>
                </c:spP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23:$F$23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7584.8909964253035</c:v>
                      </c:pt>
                      <c:pt idx="1">
                        <c:v>15352.975308143939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F14B-4A78-8528-0E622EFF6568}"/>
                  </c:ext>
                </c:extLst>
              </c15:ser>
            </c15:filteredAreaSeries>
            <c15:filteredArea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A$24</c15:sqref>
                        </c15:formulaRef>
                      </c:ext>
                    </c:extLst>
                    <c:strCache>
                      <c:ptCount val="1"/>
                      <c:pt idx="0">
                        <c:v>Zona Norte Incremental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 w="25400">
                    <a:noFill/>
                  </a:ln>
                  <a:effectLst/>
                </c:spPr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18:$F$18</c15:sqref>
                        </c15:formulaRef>
                      </c:ext>
                    </c:extLst>
                    <c:strCache>
                      <c:ptCount val="5"/>
                      <c:pt idx="0">
                        <c:v>2019</c:v>
                      </c:pt>
                      <c:pt idx="1">
                        <c:v> LE 2020</c:v>
                      </c:pt>
                      <c:pt idx="2">
                        <c:v>2021</c:v>
                      </c:pt>
                      <c:pt idx="3">
                        <c:v>2022</c:v>
                      </c:pt>
                      <c:pt idx="4">
                        <c:v>20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.xlsx]Hoja1'!$B$24:$F$24</c15:sqref>
                        </c15:formulaRef>
                      </c:ext>
                    </c:extLst>
                    <c:numCache>
                      <c:formatCode>_(* #,##0_);_(* \(#,##0\);_(* "-"_);_(@_)</c:formatCode>
                      <c:ptCount val="5"/>
                      <c:pt idx="0">
                        <c:v>1240.4735521454388</c:v>
                      </c:pt>
                      <c:pt idx="1">
                        <c:v>18.43012388015621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F14B-4A78-8528-0E622EFF6568}"/>
                  </c:ext>
                </c:extLst>
              </c15:ser>
            </c15:filteredAreaSeries>
          </c:ext>
        </c:extLst>
      </c:areaChart>
      <c:lineChart>
        <c:grouping val="stacked"/>
        <c:varyColors val="0"/>
        <c:ser>
          <c:idx val="6"/>
          <c:order val="6"/>
          <c:tx>
            <c:strRef>
              <c:f>'[Gráficas Capex.xlsx]Hoja1'!$A$25</c:f>
              <c:strCache>
                <c:ptCount val="1"/>
                <c:pt idx="0">
                  <c:v>Hocol Total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B388F"/>
              </a:solidFill>
              <a:ln w="9525">
                <a:solidFill>
                  <a:schemeClr val="accent1">
                    <a:lumMod val="60000"/>
                  </a:schemeClr>
                </a:solidFill>
              </a:ln>
              <a:effectLst/>
            </c:spPr>
          </c:marker>
          <c:dPt>
            <c:idx val="3"/>
            <c:marker>
              <c:symbol val="circle"/>
              <c:size val="5"/>
              <c:spPr>
                <a:solidFill>
                  <a:srgbClr val="2B388F"/>
                </a:solidFill>
                <a:ln w="9525">
                  <a:solidFill>
                    <a:schemeClr val="accent1">
                      <a:lumMod val="60000"/>
                    </a:schemeClr>
                  </a:solidFill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F14B-4A78-8528-0E622EFF6568}"/>
              </c:ext>
            </c:extLst>
          </c:dPt>
          <c:dLbls>
            <c:dLbl>
              <c:idx val="0"/>
              <c:layout>
                <c:manualLayout>
                  <c:x val="-5.3395776666244781E-2"/>
                  <c:y val="-6.25000000000000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14B-4A78-8528-0E622EFF6568}"/>
                </c:ext>
              </c:extLst>
            </c:dLbl>
            <c:dLbl>
              <c:idx val="1"/>
              <c:layout>
                <c:manualLayout>
                  <c:x val="-5.058547263117924E-2"/>
                  <c:y val="-6.2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14B-4A78-8528-0E622EFF6568}"/>
                </c:ext>
              </c:extLst>
            </c:dLbl>
            <c:dLbl>
              <c:idx val="2"/>
              <c:layout>
                <c:manualLayout>
                  <c:x val="-6.7447296841572316E-2"/>
                  <c:y val="-4.1666666666666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14B-4A78-8528-0E622EFF6568}"/>
                </c:ext>
              </c:extLst>
            </c:dLbl>
            <c:dLbl>
              <c:idx val="3"/>
              <c:layout>
                <c:manualLayout>
                  <c:x val="-4.4964864561048215E-2"/>
                  <c:y val="-5.41666666666666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F14B-4A78-8528-0E622EFF6568}"/>
                </c:ext>
              </c:extLst>
            </c:dLbl>
            <c:dLbl>
              <c:idx val="4"/>
              <c:layout>
                <c:manualLayout>
                  <c:x val="-5.9016384736375882E-2"/>
                  <c:y val="-5.41666666666666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14B-4A78-8528-0E622EFF65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rgbClr val="2B388F"/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Gráficas Capex.xlsx]Hoja1'!$B$18:$F$18</c:f>
              <c:strCache>
                <c:ptCount val="5"/>
                <c:pt idx="0">
                  <c:v>2019</c:v>
                </c:pt>
                <c:pt idx="1">
                  <c:v> LE 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strCache>
            </c:strRef>
          </c:cat>
          <c:val>
            <c:numRef>
              <c:f>'[Gráficas Capex.xlsx]Hoja1'!$B$25:$F$25</c:f>
              <c:numCache>
                <c:formatCode>_-* #,##0.0_-;\-* #,##0.0_-;_-* "-"_-;_-@_-</c:formatCode>
                <c:ptCount val="5"/>
                <c:pt idx="0">
                  <c:v>29.471262474982403</c:v>
                </c:pt>
                <c:pt idx="1">
                  <c:v>34.556813545801596</c:v>
                </c:pt>
                <c:pt idx="2">
                  <c:v>38.290746203510501</c:v>
                </c:pt>
                <c:pt idx="3">
                  <c:v>37.734401861000002</c:v>
                </c:pt>
                <c:pt idx="4">
                  <c:v>35.71364588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F14B-4A78-8528-0E622EFF65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2936112"/>
        <c:axId val="582929056"/>
      </c:lineChart>
      <c:catAx>
        <c:axId val="5829361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2929056"/>
        <c:crosses val="autoZero"/>
        <c:auto val="1"/>
        <c:lblAlgn val="ctr"/>
        <c:lblOffset val="100"/>
        <c:noMultiLvlLbl val="0"/>
      </c:catAx>
      <c:valAx>
        <c:axId val="582929056"/>
        <c:scaling>
          <c:orientation val="minMax"/>
        </c:scaling>
        <c:delete val="1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KBoep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s-ES"/>
            </a:p>
          </c:txPr>
        </c:title>
        <c:numFmt formatCode="_-* #,##0.0_-;\-* #,##0.0_-;_-* &quot;-&quot;_-;_-@_-" sourceLinked="1"/>
        <c:majorTickMark val="none"/>
        <c:minorTickMark val="none"/>
        <c:tickLblPos val="nextTo"/>
        <c:crossAx val="582936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100"/>
      </a:pPr>
      <a:endParaRPr lang="es-E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439705384678298E-2"/>
          <c:y val="2.3045268032798515E-2"/>
          <c:w val="0.81681169161095712"/>
          <c:h val="0.82301943489769513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'[Gráficas Capex JD dic.xlsx]VPP.'!$C$69</c:f>
              <c:strCache>
                <c:ptCount val="1"/>
                <c:pt idx="0">
                  <c:v>ON</c:v>
                </c:pt>
              </c:strCache>
            </c:strRef>
          </c:tx>
          <c:spPr>
            <a:solidFill>
              <a:srgbClr val="2B388F"/>
            </a:solidFill>
            <a:effectLst/>
          </c:spPr>
          <c:invertIfNegative val="0"/>
          <c:dLbls>
            <c:dLbl>
              <c:idx val="3"/>
              <c:layout>
                <c:manualLayout>
                  <c:x val="1.777100769239757E-3"/>
                  <c:y val="-3.771043859912483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C5A-4E3F-80AC-96FB53CD6AB2}"/>
                </c:ext>
              </c:extLst>
            </c:dLbl>
            <c:dLbl>
              <c:idx val="5"/>
              <c:layout>
                <c:manualLayout>
                  <c:x val="-8.8855038461987848E-4"/>
                  <c:y val="-1.6760194932944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C5A-4E3F-80AC-96FB53CD6A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[Gráficas Capex JD dic.xlsx]VPP.'!$L$59:$S$59</c:f>
              <c:strCache>
                <c:ptCount val="8"/>
                <c:pt idx="0">
                  <c:v>JD Oct</c:v>
                </c:pt>
                <c:pt idx="1">
                  <c:v>Plan 21-23</c:v>
                </c:pt>
                <c:pt idx="2">
                  <c:v>JD Oct</c:v>
                </c:pt>
                <c:pt idx="3">
                  <c:v>Plan 21-23</c:v>
                </c:pt>
                <c:pt idx="4">
                  <c:v>JD Oct</c:v>
                </c:pt>
                <c:pt idx="5">
                  <c:v>Plan 21-23</c:v>
                </c:pt>
                <c:pt idx="6">
                  <c:v>JD Oct</c:v>
                </c:pt>
                <c:pt idx="7">
                  <c:v>Plan 21-23</c:v>
                </c:pt>
              </c:strCache>
            </c:strRef>
          </c:cat>
          <c:val>
            <c:numRef>
              <c:f>'[Gráficas Capex JD dic.xlsx]VPP.'!$D$69:$E$69,'[Gráficas Capex JD dic.xlsx]VPP.'!$D$77:$E$77,'[Gráficas Capex JD dic.xlsx]VPP.'!$D$85:$E$85,'[Gráficas Capex JD dic.xlsx]VPP.'!$D$93:$E$93</c:f>
              <c:numCache>
                <c:formatCode>_-* #,##0.0_-;\-* #,##0.0_-;_-* "-"??_-;_-@_-</c:formatCode>
                <c:ptCount val="8"/>
                <c:pt idx="0">
                  <c:v>83.15189744599958</c:v>
                </c:pt>
                <c:pt idx="1">
                  <c:v>68.466856873300003</c:v>
                </c:pt>
                <c:pt idx="2">
                  <c:v>63.608685551999827</c:v>
                </c:pt>
                <c:pt idx="3">
                  <c:v>55.167371791699992</c:v>
                </c:pt>
                <c:pt idx="4">
                  <c:v>101.28272849899986</c:v>
                </c:pt>
                <c:pt idx="5">
                  <c:v>108.94169140100001</c:v>
                </c:pt>
                <c:pt idx="6">
                  <c:v>33.898521276999979</c:v>
                </c:pt>
                <c:pt idx="7">
                  <c:v>33.8985212769999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5A-4E3F-80AC-96FB53CD6AB2}"/>
            </c:ext>
          </c:extLst>
        </c:ser>
        <c:ser>
          <c:idx val="0"/>
          <c:order val="1"/>
          <c:tx>
            <c:strRef>
              <c:f>'[Gráficas Capex JD dic.xlsx]VPP.'!$C$70</c:f>
              <c:strCache>
                <c:ptCount val="1"/>
                <c:pt idx="0">
                  <c:v>ICO</c:v>
                </c:pt>
              </c:strCache>
            </c:strRef>
          </c:tx>
          <c:spPr>
            <a:solidFill>
              <a:srgbClr val="3DB0AA"/>
            </a:solidFill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1.698462829092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C5A-4E3F-80AC-96FB53CD6AB2}"/>
                </c:ext>
              </c:extLst>
            </c:dLbl>
            <c:dLbl>
              <c:idx val="5"/>
              <c:layout>
                <c:manualLayout>
                  <c:x val="-4.3538968846374045E-2"/>
                  <c:y val="-6.9135804098395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C5A-4E3F-80AC-96FB53CD6AB2}"/>
                </c:ext>
              </c:extLst>
            </c:dLbl>
            <c:dLbl>
              <c:idx val="6"/>
              <c:layout>
                <c:manualLayout>
                  <c:x val="5.5700610921912724E-2"/>
                  <c:y val="3.15581854043392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C95-4831-9AB3-65FCE53EF8E1}"/>
                </c:ext>
              </c:extLst>
            </c:dLbl>
            <c:dLbl>
              <c:idx val="7"/>
              <c:layout>
                <c:manualLayout>
                  <c:x val="-5.0647371923333205E-2"/>
                  <c:y val="-3.14253654992706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C5A-4E3F-80AC-96FB53CD6A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[Gráficas Capex JD dic.xlsx]VPP.'!$L$59:$S$59</c:f>
              <c:strCache>
                <c:ptCount val="8"/>
                <c:pt idx="0">
                  <c:v>JD Oct</c:v>
                </c:pt>
                <c:pt idx="1">
                  <c:v>Plan 21-23</c:v>
                </c:pt>
                <c:pt idx="2">
                  <c:v>JD Oct</c:v>
                </c:pt>
                <c:pt idx="3">
                  <c:v>Plan 21-23</c:v>
                </c:pt>
                <c:pt idx="4">
                  <c:v>JD Oct</c:v>
                </c:pt>
                <c:pt idx="5">
                  <c:v>Plan 21-23</c:v>
                </c:pt>
                <c:pt idx="6">
                  <c:v>JD Oct</c:v>
                </c:pt>
                <c:pt idx="7">
                  <c:v>Plan 21-23</c:v>
                </c:pt>
              </c:strCache>
            </c:strRef>
          </c:cat>
          <c:val>
            <c:numRef>
              <c:f>'[Gráficas Capex JD dic.xlsx]VPP.'!$D$70:$E$70,'[Gráficas Capex JD dic.xlsx]VPP.'!$D$78:$E$78,'[Gráficas Capex JD dic.xlsx]VPP.'!$D$86:$E$86,'[Gráficas Capex JD dic.xlsx]VPP.'!$D$94:$E$94</c:f>
              <c:numCache>
                <c:formatCode>_-* #,##0.0_-;\-* #,##0.0_-;_-* "-"??_-;_-@_-</c:formatCode>
                <c:ptCount val="8"/>
                <c:pt idx="0">
                  <c:v>17.832228754000038</c:v>
                </c:pt>
                <c:pt idx="1">
                  <c:v>16.199298725749998</c:v>
                </c:pt>
                <c:pt idx="2">
                  <c:v>1.2820429500000008</c:v>
                </c:pt>
                <c:pt idx="3">
                  <c:v>3.3187781107499994</c:v>
                </c:pt>
                <c:pt idx="4">
                  <c:v>0.16210424999999992</c:v>
                </c:pt>
                <c:pt idx="5">
                  <c:v>0.34099893749999999</c:v>
                </c:pt>
                <c:pt idx="6">
                  <c:v>0.10159124999999999</c:v>
                </c:pt>
                <c:pt idx="7">
                  <c:v>0.10159124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C5A-4E3F-80AC-96FB53CD6AB2}"/>
            </c:ext>
          </c:extLst>
        </c:ser>
        <c:ser>
          <c:idx val="4"/>
          <c:order val="2"/>
          <c:tx>
            <c:strRef>
              <c:f>'[Gráficas Capex JD dic.xlsx]VPP.'!$C$71</c:f>
              <c:strCache>
                <c:ptCount val="1"/>
                <c:pt idx="0">
                  <c:v>OPT</c:v>
                </c:pt>
              </c:strCache>
            </c:strRef>
          </c:tx>
          <c:spPr>
            <a:solidFill>
              <a:srgbClr val="6CBF44"/>
            </a:solidFill>
            <a:effectLst/>
          </c:spPr>
          <c:invertIfNegative val="0"/>
          <c:dLbls>
            <c:dLbl>
              <c:idx val="3"/>
              <c:layout>
                <c:manualLayout>
                  <c:x val="-3.4832297094687398E-3"/>
                  <c:y val="-8.38009746647226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C5A-4E3F-80AC-96FB53CD6AB2}"/>
                </c:ext>
              </c:extLst>
            </c:dLbl>
            <c:dLbl>
              <c:idx val="4"/>
              <c:layout>
                <c:manualLayout>
                  <c:x val="4.8738034556673637E-2"/>
                  <c:y val="-5.917159763313627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C95-4831-9AB3-65FCE53EF8E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[Gráficas Capex JD dic.xlsx]VPP.'!$L$59:$S$59</c:f>
              <c:strCache>
                <c:ptCount val="8"/>
                <c:pt idx="0">
                  <c:v>JD Oct</c:v>
                </c:pt>
                <c:pt idx="1">
                  <c:v>Plan 21-23</c:v>
                </c:pt>
                <c:pt idx="2">
                  <c:v>JD Oct</c:v>
                </c:pt>
                <c:pt idx="3">
                  <c:v>Plan 21-23</c:v>
                </c:pt>
                <c:pt idx="4">
                  <c:v>JD Oct</c:v>
                </c:pt>
                <c:pt idx="5">
                  <c:v>Plan 21-23</c:v>
                </c:pt>
                <c:pt idx="6">
                  <c:v>JD Oct</c:v>
                </c:pt>
                <c:pt idx="7">
                  <c:v>Plan 21-23</c:v>
                </c:pt>
              </c:strCache>
            </c:strRef>
          </c:cat>
          <c:val>
            <c:numRef>
              <c:f>'[Gráficas Capex JD dic.xlsx]VPP.'!$D$71:$E$71,'[Gráficas Capex JD dic.xlsx]VPP.'!$D$79:$E$79,'[Gráficas Capex JD dic.xlsx]VPP.'!$D$87:$E$87,'[Gráficas Capex JD dic.xlsx]VPP.'!$D$95:$E$95</c:f>
              <c:numCache>
                <c:formatCode>_-* #,##0.0_-;\-* #,##0.0_-;_-* "-"??_-;_-@_-</c:formatCode>
                <c:ptCount val="8"/>
                <c:pt idx="0">
                  <c:v>10.996739168999998</c:v>
                </c:pt>
                <c:pt idx="1">
                  <c:v>10.618224998500001</c:v>
                </c:pt>
                <c:pt idx="2">
                  <c:v>6.7019162969999968</c:v>
                </c:pt>
                <c:pt idx="3">
                  <c:v>7.5979323759999993</c:v>
                </c:pt>
                <c:pt idx="4">
                  <c:v>1.0330016120000005</c:v>
                </c:pt>
                <c:pt idx="5">
                  <c:v>1.033001612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C5A-4E3F-80AC-96FB53CD6AB2}"/>
            </c:ext>
          </c:extLst>
        </c:ser>
        <c:ser>
          <c:idx val="8"/>
          <c:order val="3"/>
          <c:tx>
            <c:strRef>
              <c:f>'[Gráficas Capex JD dic.xlsx]VPP.'!$C$72</c:f>
              <c:strCache>
                <c:ptCount val="1"/>
                <c:pt idx="0">
                  <c:v>ES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effectLst/>
          </c:spPr>
          <c:invertIfNegative val="0"/>
          <c:dLbls>
            <c:dLbl>
              <c:idx val="0"/>
              <c:layout>
                <c:manualLayout>
                  <c:x val="6.6641278846490876E-2"/>
                  <c:y val="-6.285073099854140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C5A-4E3F-80AC-96FB53CD6AB2}"/>
                </c:ext>
              </c:extLst>
            </c:dLbl>
            <c:dLbl>
              <c:idx val="1"/>
              <c:layout>
                <c:manualLayout>
                  <c:x val="4.8253456297833008E-2"/>
                  <c:y val="2.095078351892367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C5A-4E3F-80AC-96FB53CD6AB2}"/>
                </c:ext>
              </c:extLst>
            </c:dLbl>
            <c:dLbl>
              <c:idx val="2"/>
              <c:layout>
                <c:manualLayout>
                  <c:x val="5.2233089513208701E-2"/>
                  <c:y val="-5.79446799919240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C5A-4E3F-80AC-96FB53CD6AB2}"/>
                </c:ext>
              </c:extLst>
            </c:dLbl>
            <c:dLbl>
              <c:idx val="3"/>
              <c:layout>
                <c:manualLayout>
                  <c:x val="5.358387806000809E-2"/>
                  <c:y val="8.25746633741788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C5A-4E3F-80AC-96FB53CD6AB2}"/>
                </c:ext>
              </c:extLst>
            </c:dLbl>
            <c:dLbl>
              <c:idx val="4"/>
              <c:layout>
                <c:manualLayout>
                  <c:x val="-4.6417175768260661E-2"/>
                  <c:y val="-1.38067061143984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C95-4831-9AB3-65FCE53EF8E1}"/>
                </c:ext>
              </c:extLst>
            </c:dLbl>
            <c:dLbl>
              <c:idx val="5"/>
              <c:layout>
                <c:manualLayout>
                  <c:x val="6.4864178077251006E-2"/>
                  <c:y val="-1.2570146199708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C5A-4E3F-80AC-96FB53CD6AB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[Gráficas Capex JD dic.xlsx]VPP.'!$L$59:$S$59</c:f>
              <c:strCache>
                <c:ptCount val="8"/>
                <c:pt idx="0">
                  <c:v>JD Oct</c:v>
                </c:pt>
                <c:pt idx="1">
                  <c:v>Plan 21-23</c:v>
                </c:pt>
                <c:pt idx="2">
                  <c:v>JD Oct</c:v>
                </c:pt>
                <c:pt idx="3">
                  <c:v>Plan 21-23</c:v>
                </c:pt>
                <c:pt idx="4">
                  <c:v>JD Oct</c:v>
                </c:pt>
                <c:pt idx="5">
                  <c:v>Plan 21-23</c:v>
                </c:pt>
                <c:pt idx="6">
                  <c:v>JD Oct</c:v>
                </c:pt>
                <c:pt idx="7">
                  <c:v>Plan 21-23</c:v>
                </c:pt>
              </c:strCache>
            </c:strRef>
          </c:cat>
          <c:val>
            <c:numRef>
              <c:f>'[Gráficas Capex JD dic.xlsx]VPP.'!$D$72:$E$72,'[Gráficas Capex JD dic.xlsx]VPP.'!$D$80:$E$80,'[Gráficas Capex JD dic.xlsx]VPP.'!$D$88:$E$88</c:f>
              <c:numCache>
                <c:formatCode>_-* #,##0.0_-;\-* #,##0.0_-;_-* "-"??_-;_-@_-</c:formatCode>
                <c:ptCount val="6"/>
                <c:pt idx="0">
                  <c:v>2.2258882459999998</c:v>
                </c:pt>
                <c:pt idx="1">
                  <c:v>0.757360221</c:v>
                </c:pt>
                <c:pt idx="2">
                  <c:v>0.67936717099999999</c:v>
                </c:pt>
                <c:pt idx="3">
                  <c:v>1.7974793760000005</c:v>
                </c:pt>
                <c:pt idx="4">
                  <c:v>0.40459261700000004</c:v>
                </c:pt>
                <c:pt idx="5">
                  <c:v>0.346963787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1C5A-4E3F-80AC-96FB53CD6A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583581616"/>
        <c:axId val="583584752"/>
        <c:extLst>
          <c:ext xmlns:c15="http://schemas.microsoft.com/office/drawing/2012/chart" uri="{02D57815-91ED-43cb-92C2-25804820EDAC}">
            <c15:filteredBarSeries>
              <c15:ser>
                <c:idx val="2"/>
                <c:order val="5"/>
                <c:tx>
                  <c:strRef>
                    <c:extLst>
                      <c:ext uri="{02D57815-91ED-43cb-92C2-25804820EDAC}">
                        <c15:formulaRef>
                          <c15:sqref>'[Gráficas Capex JD dic.xlsx]VPP.'!$C$73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[Gráficas Capex JD dic.xlsx]VPP.'!$L$59:$S$59</c15:sqref>
                        </c15:formulaRef>
                      </c:ext>
                    </c:extLst>
                    <c:strCache>
                      <c:ptCount val="8"/>
                      <c:pt idx="0">
                        <c:v>JD Oct</c:v>
                      </c:pt>
                      <c:pt idx="1">
                        <c:v>Plan 21-23</c:v>
                      </c:pt>
                      <c:pt idx="2">
                        <c:v>JD Oct</c:v>
                      </c:pt>
                      <c:pt idx="3">
                        <c:v>Plan 21-23</c:v>
                      </c:pt>
                      <c:pt idx="4">
                        <c:v>JD Oct</c:v>
                      </c:pt>
                      <c:pt idx="5">
                        <c:v>Plan 21-23</c:v>
                      </c:pt>
                      <c:pt idx="6">
                        <c:v>JD Oct</c:v>
                      </c:pt>
                      <c:pt idx="7">
                        <c:v>Plan 21-23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Gráficas Capex JD dic.xlsx]VPP.'!$D$73:$E$73,'[Gráficas Capex JD dic.xlsx]VPP.'!$D$81:$E$81,'[Gráficas Capex JD dic.xlsx]VPP.'!$D$89:$E$89</c15:sqref>
                        </c15:formulaRef>
                      </c:ext>
                    </c:extLst>
                    <c:numCache>
                      <c:formatCode>General</c:formatCode>
                      <c:ptCount val="6"/>
                      <c:pt idx="3" formatCode="_-* #,##0.0_-;\-* #,##0.0_-;_-* &quot;-&quot;??_-;_-@_-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1-1C5A-4E3F-80AC-96FB53CD6AB2}"/>
                  </c:ext>
                </c:extLst>
              </c15:ser>
            </c15:filteredBarSeries>
            <c15:filteredBarSeries>
              <c15:ser>
                <c:idx val="3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 JD dic.xlsx]VPP.'!$C$74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 JD dic.xlsx]VPP.'!$L$59:$S$59</c15:sqref>
                        </c15:formulaRef>
                      </c:ext>
                    </c:extLst>
                    <c:strCache>
                      <c:ptCount val="8"/>
                      <c:pt idx="0">
                        <c:v>JD Oct</c:v>
                      </c:pt>
                      <c:pt idx="1">
                        <c:v>Plan 21-23</c:v>
                      </c:pt>
                      <c:pt idx="2">
                        <c:v>JD Oct</c:v>
                      </c:pt>
                      <c:pt idx="3">
                        <c:v>Plan 21-23</c:v>
                      </c:pt>
                      <c:pt idx="4">
                        <c:v>JD Oct</c:v>
                      </c:pt>
                      <c:pt idx="5">
                        <c:v>Plan 21-23</c:v>
                      </c:pt>
                      <c:pt idx="6">
                        <c:v>JD Oct</c:v>
                      </c:pt>
                      <c:pt idx="7">
                        <c:v>Plan 21-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 JD dic.xlsx]VPP.'!$D$74:$E$74,'[Gráficas Capex JD dic.xlsx]VPP.'!$D$82:$E$82,'[Gráficas Capex JD dic.xlsx]VPP.'!$D$90:$E$90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1C5A-4E3F-80AC-96FB53CD6AB2}"/>
                  </c:ext>
                </c:extLst>
              </c15:ser>
            </c15:filteredBarSeries>
            <c15:filteredBarSeries>
              <c15:ser>
                <c:idx val="5"/>
                <c:order val="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 JD dic.xlsx]VPP.'!$C$75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/>
                    <a:lstStyle/>
                    <a:p>
                      <a:pPr>
                        <a:defRPr>
                          <a:solidFill>
                            <a:schemeClr val="bg1"/>
                          </a:solidFill>
                        </a:defRPr>
                      </a:pPr>
                      <a:endParaRPr lang="es-ES"/>
                    </a:p>
                  </c:txPr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 xmlns:c15="http://schemas.microsoft.com/office/drawing/2012/chart">
                    <c:ext xmlns:c15="http://schemas.microsoft.com/office/drawing/2012/chart" uri="{CE6537A1-D6FC-4f65-9D91-7224C49458BB}">
                      <c15:showLeaderLines val="1"/>
                    </c:ext>
                  </c:extLst>
                </c:dLbls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 JD dic.xlsx]VPP.'!$L$59:$S$59</c15:sqref>
                        </c15:formulaRef>
                      </c:ext>
                    </c:extLst>
                    <c:strCache>
                      <c:ptCount val="8"/>
                      <c:pt idx="0">
                        <c:v>JD Oct</c:v>
                      </c:pt>
                      <c:pt idx="1">
                        <c:v>Plan 21-23</c:v>
                      </c:pt>
                      <c:pt idx="2">
                        <c:v>JD Oct</c:v>
                      </c:pt>
                      <c:pt idx="3">
                        <c:v>Plan 21-23</c:v>
                      </c:pt>
                      <c:pt idx="4">
                        <c:v>JD Oct</c:v>
                      </c:pt>
                      <c:pt idx="5">
                        <c:v>Plan 21-23</c:v>
                      </c:pt>
                      <c:pt idx="6">
                        <c:v>JD Oct</c:v>
                      </c:pt>
                      <c:pt idx="7">
                        <c:v>Plan 21-23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ráficas Capex JD dic.xlsx]VPP.'!$D$75:$E$75,'[Gráficas Capex JD dic.xlsx]VPP.'!$D$83:$E$83,'[Gráficas Capex JD dic.xlsx]VPP.'!$D$91:$E$91</c15:sqref>
                        </c15:formulaRef>
                      </c:ext>
                    </c:extLst>
                    <c:numCache>
                      <c:formatCode>General</c:formatCode>
                      <c:ptCount val="6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1C5A-4E3F-80AC-96FB53CD6AB2}"/>
                  </c:ext>
                </c:extLst>
              </c15:ser>
            </c15:filteredBarSeries>
          </c:ext>
        </c:extLst>
      </c:barChart>
      <c:scatterChart>
        <c:scatterStyle val="lineMarker"/>
        <c:varyColors val="0"/>
        <c:ser>
          <c:idx val="1"/>
          <c:order val="4"/>
          <c:tx>
            <c:strRef>
              <c:f>'[Gráficas Capex JD dic.xlsx]VPP.'!$C$43</c:f>
              <c:strCache>
                <c:ptCount val="1"/>
                <c:pt idx="0">
                  <c:v>Total</c:v>
                </c:pt>
              </c:strCache>
            </c:strRef>
          </c:tx>
          <c:spPr>
            <a:ln w="44450">
              <a:noFill/>
            </a:ln>
          </c:spPr>
          <c:marker>
            <c:spPr>
              <a:noFill/>
              <a:ln>
                <a:noFill/>
              </a:ln>
              <a:effectLst/>
            </c:spPr>
          </c:marker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C5A-4E3F-80AC-96FB53CD6AB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yVal>
            <c:numRef>
              <c:f>'[Gráficas Capex JD dic.xlsx]VPP.'!$D$76:$E$76,'[Gráficas Capex JD dic.xlsx]VPP.'!$D$84:$E$84,'[Gráficas Capex JD dic.xlsx]VPP.'!$D$92:$E$92,'[Gráficas Capex JD dic.xlsx]VPP.'!$D$100:$E$100</c:f>
              <c:numCache>
                <c:formatCode>_-* #,##0.0_-;\-* #,##0.0_-;_-* "-"??_-;_-@_-</c:formatCode>
                <c:ptCount val="8"/>
                <c:pt idx="0" formatCode="_-* #,##0.0_-;\-* #,##0.0_-;_-* &quot;-&quot;_-;_-@_-">
                  <c:v>114.20675361499961</c:v>
                </c:pt>
                <c:pt idx="1">
                  <c:v>96.041740818549997</c:v>
                </c:pt>
                <c:pt idx="2" formatCode="_-* #,##0.0_-;\-* #,##0.0_-;_-* &quot;-&quot;_-;_-@_-">
                  <c:v>72.272011969999824</c:v>
                </c:pt>
                <c:pt idx="3">
                  <c:v>67.881561654449996</c:v>
                </c:pt>
                <c:pt idx="4">
                  <c:v>102.88242697799987</c:v>
                </c:pt>
                <c:pt idx="5">
                  <c:v>110.66265573750003</c:v>
                </c:pt>
                <c:pt idx="6" formatCode="_(* #,##0_);_(* \(#,##0\);_(* &quot;-&quot;_);_(@_)">
                  <c:v>34.000112526999978</c:v>
                </c:pt>
                <c:pt idx="7" formatCode="_(* #,##0_);_(* \(#,##0\);_(* &quot;-&quot;_);_(@_)">
                  <c:v>34.00011252699997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0-1C5A-4E3F-80AC-96FB53CD6A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axId val="583581616"/>
        <c:axId val="583584752"/>
      </c:scatterChart>
      <c:catAx>
        <c:axId val="5835816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583584752"/>
        <c:crosses val="autoZero"/>
        <c:auto val="1"/>
        <c:lblAlgn val="ctr"/>
        <c:lblOffset val="100"/>
        <c:noMultiLvlLbl val="0"/>
      </c:catAx>
      <c:valAx>
        <c:axId val="583584752"/>
        <c:scaling>
          <c:orientation val="minMax"/>
          <c:min val="0"/>
        </c:scaling>
        <c:delete val="1"/>
        <c:axPos val="l"/>
        <c:numFmt formatCode="_-* #,##0.0_-;\-* #,##0.0_-;_-* &quot;-&quot;??_-;_-@_-" sourceLinked="1"/>
        <c:majorTickMark val="none"/>
        <c:minorTickMark val="none"/>
        <c:tickLblPos val="nextTo"/>
        <c:crossAx val="5835816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930505189749783"/>
          <c:y val="0.27325609870056039"/>
          <c:w val="0.13376392168024329"/>
          <c:h val="0.35315058590011739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 b="0">
          <a:solidFill>
            <a:sysClr val="windowText" lastClr="000000"/>
          </a:solidFill>
        </a:defRPr>
      </a:pPr>
      <a:endParaRPr lang="es-ES"/>
    </a:p>
  </c:txPr>
  <c:externalData r:id="rId1">
    <c:autoUpdate val="0"/>
  </c:externalData>
  <c:userShapes r:id="rId2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4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s-CO"/>
              <a:t>No. Pozos VPP</a:t>
            </a:r>
          </a:p>
        </c:rich>
      </c:tx>
      <c:layout>
        <c:manualLayout>
          <c:xMode val="edge"/>
          <c:yMode val="edge"/>
          <c:x val="0.39810107773254366"/>
          <c:y val="4.629620163183270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4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>
        <c:manualLayout>
          <c:layoutTarget val="inner"/>
          <c:xMode val="edge"/>
          <c:yMode val="edge"/>
          <c:x val="3.0555555555555555E-2"/>
          <c:y val="0.18097222222222226"/>
          <c:w val="0.93888888888888888"/>
          <c:h val="0.614984324876057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[Gráficas Capex JD dic.xlsx]Total Inversiones'!$C$2</c:f>
              <c:strCache>
                <c:ptCount val="1"/>
                <c:pt idx="0">
                  <c:v>JD Octubr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B388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FDB-4721-9F76-6C75CCD4E875}"/>
              </c:ext>
            </c:extLst>
          </c:dPt>
          <c:dPt>
            <c:idx val="1"/>
            <c:invertIfNegative val="0"/>
            <c:bubble3D val="0"/>
            <c:spPr>
              <a:solidFill>
                <a:srgbClr val="25A9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5C3-4F31-9710-58682CE0AF0E}"/>
              </c:ext>
            </c:extLst>
          </c:dPt>
          <c:dPt>
            <c:idx val="2"/>
            <c:invertIfNegative val="0"/>
            <c:bubble3D val="0"/>
            <c:spPr>
              <a:solidFill>
                <a:srgbClr val="25A9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5C3-4F31-9710-58682CE0AF0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Gráficas Capex JD dic.xlsx]Total Inversiones'!$B$13:$B$16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'[Gráficas Capex JD dic.xlsx]Total Inversiones'!$C$13:$C$16</c:f>
              <c:numCache>
                <c:formatCode>General</c:formatCode>
                <c:ptCount val="4"/>
                <c:pt idx="0">
                  <c:v>25</c:v>
                </c:pt>
                <c:pt idx="1">
                  <c:v>19</c:v>
                </c:pt>
                <c:pt idx="2">
                  <c:v>14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83B-4718-A271-C2B9B1BC9EDE}"/>
            </c:ext>
          </c:extLst>
        </c:ser>
        <c:ser>
          <c:idx val="1"/>
          <c:order val="1"/>
          <c:tx>
            <c:strRef>
              <c:f>'[Gráficas Capex JD dic.xlsx]Total Inversiones'!$D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6CBF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Gráficas Capex JD dic.xlsx]Total Inversiones'!$B$13:$B$16</c:f>
              <c:numCache>
                <c:formatCode>General</c:formatCode>
                <c:ptCount val="4"/>
                <c:pt idx="0">
                  <c:v>2021</c:v>
                </c:pt>
                <c:pt idx="1">
                  <c:v>2022</c:v>
                </c:pt>
                <c:pt idx="2">
                  <c:v>2023</c:v>
                </c:pt>
                <c:pt idx="3">
                  <c:v>2024</c:v>
                </c:pt>
              </c:numCache>
            </c:numRef>
          </c:cat>
          <c:val>
            <c:numRef>
              <c:f>'[Gráficas Capex JD dic.xlsx]Total Inversiones'!$D$13:$D$16</c:f>
              <c:numCache>
                <c:formatCode>General</c:formatCode>
                <c:ptCount val="4"/>
                <c:pt idx="0">
                  <c:v>21</c:v>
                </c:pt>
                <c:pt idx="1">
                  <c:v>17</c:v>
                </c:pt>
                <c:pt idx="2">
                  <c:v>20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83B-4718-A271-C2B9B1BC9E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3586712"/>
        <c:axId val="583584360"/>
      </c:barChart>
      <c:catAx>
        <c:axId val="583586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3584360"/>
        <c:crosses val="autoZero"/>
        <c:auto val="1"/>
        <c:lblAlgn val="ctr"/>
        <c:lblOffset val="100"/>
        <c:noMultiLvlLbl val="0"/>
      </c:catAx>
      <c:valAx>
        <c:axId val="58358436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83586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 sz="1200" b="1">
          <a:solidFill>
            <a:sysClr val="windowText" lastClr="000000"/>
          </a:solidFill>
        </a:defRPr>
      </a:pPr>
      <a:endParaRPr lang="es-E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46287961026635E-2"/>
          <c:y val="7.9093503369120063E-2"/>
          <c:w val="0.6675438389304571"/>
          <c:h val="0.78004251189450791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Hoja1!$C$69</c:f>
              <c:strCache>
                <c:ptCount val="1"/>
                <c:pt idx="0">
                  <c:v>Adquisición de información</c:v>
                </c:pt>
              </c:strCache>
            </c:strRef>
          </c:tx>
          <c:spPr>
            <a:solidFill>
              <a:schemeClr val="accent4">
                <a:lumMod val="60000"/>
                <a:lumOff val="40000"/>
              </a:schemeClr>
            </a:solidFill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9E5-4288-B545-CEC1F7A5ACE9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A3D-4C0A-94FD-CC3015A1A29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A3D-4C0A-94FD-CC3015A1A29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A3D-4C0A-94FD-CC3015A1A29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L$59:$Q$59</c:f>
              <c:strCache>
                <c:ptCount val="6"/>
                <c:pt idx="0">
                  <c:v>Plan 21-23 Inicial</c:v>
                </c:pt>
                <c:pt idx="1">
                  <c:v>Plan 21-23</c:v>
                </c:pt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</c:strCache>
            </c:strRef>
          </c:cat>
          <c:val>
            <c:numRef>
              <c:f>(Hoja1!$D$69:$E$69,Hoja1!$D$77:$E$77,Hoja1!$D$85:$E$85)</c:f>
              <c:numCache>
                <c:formatCode>_(* #,##0_);_(* \(#,##0\);_(* "-"_);_(@_)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.2</c:v>
                </c:pt>
                <c:pt idx="4">
                  <c:v>0</c:v>
                </c:pt>
                <c:pt idx="5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9E5-4288-B545-CEC1F7A5ACE9}"/>
            </c:ext>
          </c:extLst>
        </c:ser>
        <c:ser>
          <c:idx val="0"/>
          <c:order val="1"/>
          <c:tx>
            <c:strRef>
              <c:f>Hoja1!$C$70</c:f>
              <c:strCache>
                <c:ptCount val="1"/>
                <c:pt idx="0">
                  <c:v>G&amp;G</c:v>
                </c:pt>
              </c:strCache>
            </c:strRef>
          </c:tx>
          <c:spPr>
            <a:solidFill>
              <a:srgbClr val="25A9E0"/>
            </a:solidFill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A3D-4C0A-94FD-CC3015A1A290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A3D-4C0A-94FD-CC3015A1A290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A3D-4C0A-94FD-CC3015A1A29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L$59:$Q$59</c:f>
              <c:strCache>
                <c:ptCount val="6"/>
                <c:pt idx="0">
                  <c:v>Plan 21-23 Inicial</c:v>
                </c:pt>
                <c:pt idx="1">
                  <c:v>Plan 21-23</c:v>
                </c:pt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</c:strCache>
            </c:strRef>
          </c:cat>
          <c:val>
            <c:numRef>
              <c:f>(Hoja1!$D$70:$E$70,Hoja1!$D$78:$E$78,Hoja1!$D$86:$E$86)</c:f>
              <c:numCache>
                <c:formatCode>_(* #,##0_);_(* \(#,##0\);_(* "-"_);_(@_)</c:formatCode>
                <c:ptCount val="6"/>
                <c:pt idx="0">
                  <c:v>3</c:v>
                </c:pt>
                <c:pt idx="1">
                  <c:v>1.99</c:v>
                </c:pt>
                <c:pt idx="2">
                  <c:v>1</c:v>
                </c:pt>
                <c:pt idx="3">
                  <c:v>0.7</c:v>
                </c:pt>
                <c:pt idx="4">
                  <c:v>3</c:v>
                </c:pt>
                <c:pt idx="5">
                  <c:v>1.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E5-4288-B545-CEC1F7A5ACE9}"/>
            </c:ext>
          </c:extLst>
        </c:ser>
        <c:ser>
          <c:idx val="4"/>
          <c:order val="2"/>
          <c:tx>
            <c:strRef>
              <c:f>Hoja1!$C$71</c:f>
              <c:strCache>
                <c:ptCount val="1"/>
                <c:pt idx="0">
                  <c:v>Perforación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L$59:$Q$59</c:f>
              <c:strCache>
                <c:ptCount val="6"/>
                <c:pt idx="0">
                  <c:v>Plan 21-23 Inicial</c:v>
                </c:pt>
                <c:pt idx="1">
                  <c:v>Plan 21-23</c:v>
                </c:pt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</c:strCache>
            </c:strRef>
          </c:cat>
          <c:val>
            <c:numRef>
              <c:f>(Hoja1!$D$71:$E$71,Hoja1!$D$79:$E$79,Hoja1!$D$87:$E$87)</c:f>
              <c:numCache>
                <c:formatCode>_(* #,##0_);_(* \(#,##0\);_(* "-"_);_(@_)</c:formatCode>
                <c:ptCount val="6"/>
                <c:pt idx="0">
                  <c:v>31</c:v>
                </c:pt>
                <c:pt idx="1">
                  <c:v>16.114170770000001</c:v>
                </c:pt>
                <c:pt idx="2">
                  <c:v>121</c:v>
                </c:pt>
                <c:pt idx="3">
                  <c:v>92.499214889000015</c:v>
                </c:pt>
                <c:pt idx="4">
                  <c:v>80</c:v>
                </c:pt>
                <c:pt idx="5">
                  <c:v>73.50941057077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E5-4288-B545-CEC1F7A5ACE9}"/>
            </c:ext>
          </c:extLst>
        </c:ser>
        <c:ser>
          <c:idx val="8"/>
          <c:order val="3"/>
          <c:tx>
            <c:strRef>
              <c:f>Hoja1!$C$72</c:f>
              <c:strCache>
                <c:ptCount val="1"/>
                <c:pt idx="0">
                  <c:v>Pozos de Estudio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1F46-47AD-A5F9-9C2CC4782F7F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F46-47AD-A5F9-9C2CC4782F7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F46-47AD-A5F9-9C2CC4782F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L$59:$Q$59</c:f>
              <c:strCache>
                <c:ptCount val="6"/>
                <c:pt idx="0">
                  <c:v>Plan 21-23 Inicial</c:v>
                </c:pt>
                <c:pt idx="1">
                  <c:v>Plan 21-23</c:v>
                </c:pt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</c:strCache>
            </c:strRef>
          </c:cat>
          <c:val>
            <c:numRef>
              <c:f>(Hoja1!$D$72:$E$72,Hoja1!$D$80:$E$80,Hoja1!$D$88:$E$88)</c:f>
              <c:numCache>
                <c:formatCode>_(* #,##0_);_(* \(#,##0\);_(* "-"_);_(@_)</c:formatCode>
                <c:ptCount val="6"/>
                <c:pt idx="0">
                  <c:v>6</c:v>
                </c:pt>
                <c:pt idx="1">
                  <c:v>1.49</c:v>
                </c:pt>
                <c:pt idx="2">
                  <c:v>0</c:v>
                </c:pt>
                <c:pt idx="3">
                  <c:v>4.8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9E5-4288-B545-CEC1F7A5ACE9}"/>
            </c:ext>
          </c:extLst>
        </c:ser>
        <c:ser>
          <c:idx val="2"/>
          <c:order val="5"/>
          <c:tx>
            <c:strRef>
              <c:f>Hoja1!$C$73</c:f>
              <c:strCache>
                <c:ptCount val="1"/>
                <c:pt idx="0">
                  <c:v>Pruebas y Completamiento</c:v>
                </c:pt>
              </c:strCache>
            </c:strRef>
          </c:tx>
          <c:spPr>
            <a:solidFill>
              <a:srgbClr val="92D050"/>
            </a:solidFill>
            <a:ln w="44450">
              <a:noFill/>
            </a:ln>
            <a:effectLst/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F46-47AD-A5F9-9C2CC4782F7F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F46-47AD-A5F9-9C2CC4782F7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F46-47AD-A5F9-9C2CC4782F7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L$59:$Q$59</c:f>
              <c:strCache>
                <c:ptCount val="6"/>
                <c:pt idx="0">
                  <c:v>Plan 21-23 Inicial</c:v>
                </c:pt>
                <c:pt idx="1">
                  <c:v>Plan 21-23</c:v>
                </c:pt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</c:strCache>
            </c:strRef>
          </c:cat>
          <c:val>
            <c:numRef>
              <c:f>(Hoja1!$D$73:$E$73,Hoja1!$D$81:$E$81,Hoja1!$D$89:$E$89)</c:f>
              <c:numCache>
                <c:formatCode>_(* #,##0_);_(* \(#,##0\);_(* "-"_);_(@_)</c:formatCode>
                <c:ptCount val="6"/>
                <c:pt idx="0">
                  <c:v>7</c:v>
                </c:pt>
                <c:pt idx="1">
                  <c:v>3.46</c:v>
                </c:pt>
                <c:pt idx="2">
                  <c:v>12</c:v>
                </c:pt>
                <c:pt idx="3">
                  <c:v>3.07</c:v>
                </c:pt>
                <c:pt idx="4">
                  <c:v>6</c:v>
                </c:pt>
                <c:pt idx="5">
                  <c:v>2.1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9E5-4288-B545-CEC1F7A5ACE9}"/>
            </c:ext>
          </c:extLst>
        </c:ser>
        <c:ser>
          <c:idx val="3"/>
          <c:order val="6"/>
          <c:tx>
            <c:strRef>
              <c:f>Hoja1!$C$74</c:f>
              <c:strCache>
                <c:ptCount val="1"/>
                <c:pt idx="0">
                  <c:v>Sísmica</c:v>
                </c:pt>
              </c:strCache>
            </c:strRef>
          </c:tx>
          <c:spPr>
            <a:solidFill>
              <a:srgbClr val="3DB0AA"/>
            </a:solidFill>
            <a:ln w="444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L$59:$Q$59</c:f>
              <c:strCache>
                <c:ptCount val="6"/>
                <c:pt idx="0">
                  <c:v>Plan 21-23 Inicial</c:v>
                </c:pt>
                <c:pt idx="1">
                  <c:v>Plan 21-23</c:v>
                </c:pt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</c:strCache>
            </c:strRef>
          </c:cat>
          <c:val>
            <c:numRef>
              <c:f>(Hoja1!$D$74:$E$74,Hoja1!$D$82:$E$82,Hoja1!$D$90:$E$90)</c:f>
              <c:numCache>
                <c:formatCode>_(* #,##0_);_(* \(#,##0\);_(* "-"_);_(@_)</c:formatCode>
                <c:ptCount val="6"/>
                <c:pt idx="0">
                  <c:v>10</c:v>
                </c:pt>
                <c:pt idx="1">
                  <c:v>7.27</c:v>
                </c:pt>
                <c:pt idx="2">
                  <c:v>22</c:v>
                </c:pt>
                <c:pt idx="3">
                  <c:v>25.235199999999999</c:v>
                </c:pt>
                <c:pt idx="4">
                  <c:v>9</c:v>
                </c:pt>
                <c:pt idx="5">
                  <c:v>9.1427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E5-4288-B545-CEC1F7A5ACE9}"/>
            </c:ext>
          </c:extLst>
        </c:ser>
        <c:ser>
          <c:idx val="5"/>
          <c:order val="7"/>
          <c:tx>
            <c:strRef>
              <c:f>Hoja1!$C$75</c:f>
              <c:strCache>
                <c:ptCount val="1"/>
                <c:pt idx="0">
                  <c:v>Viabilidad</c:v>
                </c:pt>
              </c:strCache>
            </c:strRef>
          </c:tx>
          <c:spPr>
            <a:solidFill>
              <a:srgbClr val="2B388F"/>
            </a:solidFill>
            <a:ln w="44450">
              <a:noFill/>
            </a:ln>
            <a:effectLst/>
          </c:spPr>
          <c:invertIfNegative val="0"/>
          <c:dLbls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F46-47AD-A5F9-9C2CC4782F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L$59:$Q$59</c:f>
              <c:strCache>
                <c:ptCount val="6"/>
                <c:pt idx="0">
                  <c:v>Plan 21-23 Inicial</c:v>
                </c:pt>
                <c:pt idx="1">
                  <c:v>Plan 21-23</c:v>
                </c:pt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</c:strCache>
            </c:strRef>
          </c:cat>
          <c:val>
            <c:numRef>
              <c:f>(Hoja1!$D$75:$E$75,Hoja1!$D$83:$E$83,Hoja1!$D$91:$E$91)</c:f>
              <c:numCache>
                <c:formatCode>_(* #,##0_);_(* \(#,##0\);_(* "-"_);_(@_)</c:formatCode>
                <c:ptCount val="6"/>
                <c:pt idx="0">
                  <c:v>16</c:v>
                </c:pt>
                <c:pt idx="1">
                  <c:v>7.81</c:v>
                </c:pt>
                <c:pt idx="2">
                  <c:v>16</c:v>
                </c:pt>
                <c:pt idx="3">
                  <c:v>11.413948000961181</c:v>
                </c:pt>
                <c:pt idx="4">
                  <c:v>8</c:v>
                </c:pt>
                <c:pt idx="5">
                  <c:v>2.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9E5-4288-B545-CEC1F7A5AC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3583576"/>
        <c:axId val="583582008"/>
      </c:barChart>
      <c:scatterChart>
        <c:scatterStyle val="lineMarker"/>
        <c:varyColors val="0"/>
        <c:ser>
          <c:idx val="1"/>
          <c:order val="4"/>
          <c:tx>
            <c:strRef>
              <c:f>Hoja1!$C$43</c:f>
              <c:strCache>
                <c:ptCount val="1"/>
              </c:strCache>
            </c:strRef>
          </c:tx>
          <c:spPr>
            <a:ln w="44450">
              <a:noFill/>
            </a:ln>
          </c:spPr>
          <c:marker>
            <c:spPr>
              <a:noFill/>
              <a:ln>
                <a:noFill/>
              </a:ln>
              <a:effectLst/>
            </c:spPr>
          </c:marker>
          <c:dLbls>
            <c:dLbl>
              <c:idx val="3"/>
              <c:layout>
                <c:manualLayout>
                  <c:x val="-3.3961885915309173E-2"/>
                  <c:y val="-3.667257550519143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64E-4A5B-A3C2-1E2AB2A2000D}"/>
                </c:ext>
              </c:extLst>
            </c:dLbl>
            <c:dLbl>
              <c:idx val="4"/>
              <c:layout>
                <c:manualLayout>
                  <c:x val="-3.412449210778129E-2"/>
                  <c:y val="-3.49184558900571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A3D-4C0A-94FD-CC3015A1A290}"/>
                </c:ext>
              </c:extLst>
            </c:dLbl>
            <c:dLbl>
              <c:idx val="5"/>
              <c:layout>
                <c:manualLayout>
                  <c:x val="-4.5528802940689693E-2"/>
                  <c:y val="-3.49184558900571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A3D-4C0A-94FD-CC3015A1A29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/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yVal>
            <c:numRef>
              <c:f>(Hoja1!$D$76:$E$76,Hoja1!$D$84:$E$84,Hoja1!$D$92:$E$92)</c:f>
              <c:numCache>
                <c:formatCode>_(* #,##0_);_(* \(#,##0\);_(* "-"_);_(@_)</c:formatCode>
                <c:ptCount val="6"/>
                <c:pt idx="0">
                  <c:v>73</c:v>
                </c:pt>
                <c:pt idx="1">
                  <c:v>38.134170769999997</c:v>
                </c:pt>
                <c:pt idx="2">
                  <c:v>172</c:v>
                </c:pt>
                <c:pt idx="3">
                  <c:v>137.91836288996117</c:v>
                </c:pt>
                <c:pt idx="4">
                  <c:v>106</c:v>
                </c:pt>
                <c:pt idx="5">
                  <c:v>89.2622105707712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8-29E5-4288-B545-CEC1F7A5AC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3583576"/>
        <c:axId val="583582008"/>
      </c:scatterChart>
      <c:catAx>
        <c:axId val="5835835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ES"/>
          </a:p>
        </c:txPr>
        <c:crossAx val="583582008"/>
        <c:crosses val="autoZero"/>
        <c:auto val="1"/>
        <c:lblAlgn val="ctr"/>
        <c:lblOffset val="100"/>
        <c:noMultiLvlLbl val="0"/>
      </c:catAx>
      <c:valAx>
        <c:axId val="583582008"/>
        <c:scaling>
          <c:orientation val="minMax"/>
          <c:min val="0"/>
        </c:scaling>
        <c:delete val="1"/>
        <c:axPos val="l"/>
        <c:numFmt formatCode="_(* #,##0_);_(* \(#,##0\);_(* &quot;-&quot;_);_(@_)" sourceLinked="1"/>
        <c:majorTickMark val="out"/>
        <c:minorTickMark val="none"/>
        <c:tickLblPos val="nextTo"/>
        <c:crossAx val="5835835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6369255078999787"/>
          <c:y val="4.1185816221579304E-2"/>
          <c:w val="0.20187295025817611"/>
          <c:h val="0.75368197618930521"/>
        </c:manualLayout>
      </c:layout>
      <c:overlay val="0"/>
      <c:txPr>
        <a:bodyPr/>
        <a:lstStyle/>
        <a:p>
          <a:pPr>
            <a:defRPr sz="900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b="1">
          <a:solidFill>
            <a:sysClr val="windowText" lastClr="000000"/>
          </a:solidFill>
        </a:defRPr>
      </a:pPr>
      <a:endParaRPr lang="es-E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55555555555555E-2"/>
          <c:y val="0.18097222222222226"/>
          <c:w val="0.93888888888888888"/>
          <c:h val="0.5819555739568889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C$2</c:f>
              <c:strCache>
                <c:ptCount val="1"/>
                <c:pt idx="0">
                  <c:v>Plan 21-23 Inici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B388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DE-410A-8383-C239722367D8}"/>
              </c:ext>
            </c:extLst>
          </c:dPt>
          <c:dPt>
            <c:idx val="1"/>
            <c:invertIfNegative val="0"/>
            <c:bubble3D val="0"/>
            <c:spPr>
              <a:solidFill>
                <a:srgbClr val="25A9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DE-410A-8383-C239722367D8}"/>
              </c:ext>
            </c:extLst>
          </c:dPt>
          <c:dPt>
            <c:idx val="2"/>
            <c:invertIfNegative val="0"/>
            <c:bubble3D val="0"/>
            <c:spPr>
              <a:solidFill>
                <a:srgbClr val="25A9E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8DE-410A-8383-C239722367D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B$13:$B$16</c:f>
              <c:numCache>
                <c:formatCode>General</c:formatCode>
                <c:ptCount val="4"/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Hoja1!$C$13:$C$16</c:f>
              <c:numCache>
                <c:formatCode>General</c:formatCode>
                <c:ptCount val="4"/>
                <c:pt idx="1">
                  <c:v>7</c:v>
                </c:pt>
                <c:pt idx="2">
                  <c:v>17</c:v>
                </c:pt>
                <c:pt idx="3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8DE-410A-8383-C239722367D8}"/>
            </c:ext>
          </c:extLst>
        </c:ser>
        <c:ser>
          <c:idx val="1"/>
          <c:order val="1"/>
          <c:tx>
            <c:strRef>
              <c:f>Hoja1!$D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6CBF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B$13:$B$16</c:f>
              <c:numCache>
                <c:formatCode>General</c:formatCode>
                <c:ptCount val="4"/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Hoja1!$D$13:$D$16</c:f>
              <c:numCache>
                <c:formatCode>General</c:formatCode>
                <c:ptCount val="4"/>
                <c:pt idx="1">
                  <c:v>3</c:v>
                </c:pt>
                <c:pt idx="2" formatCode="#,##0">
                  <c:v>16</c:v>
                </c:pt>
                <c:pt idx="3" formatCode="#,##0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8DE-410A-8383-C239722367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3587104"/>
        <c:axId val="583583968"/>
      </c:barChart>
      <c:catAx>
        <c:axId val="5835871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3583968"/>
        <c:crosses val="autoZero"/>
        <c:auto val="1"/>
        <c:lblAlgn val="ctr"/>
        <c:lblOffset val="100"/>
        <c:noMultiLvlLbl val="0"/>
      </c:catAx>
      <c:valAx>
        <c:axId val="58358396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835871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138954139685295"/>
          <c:y val="0.87239761859930953"/>
          <c:w val="0.35185534085690862"/>
          <c:h val="0.1209967265833275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ysClr val="windowText" lastClr="000000"/>
          </a:solidFill>
        </a:defRPr>
      </a:pPr>
      <a:endParaRPr lang="es-E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C$2</c:f>
              <c:strCache>
                <c:ptCount val="1"/>
                <c:pt idx="0">
                  <c:v>Plan 21-23 Inicial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B388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79E-495B-BD7F-01C4FB93CB3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B$3:$B$6</c:f>
              <c:numCache>
                <c:formatCode>General</c:formatCode>
                <c:ptCount val="4"/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Hoja1!$C$3:$C$6</c:f>
              <c:numCache>
                <c:formatCode>_(* #,##0_);_(* \(#,##0\);_(* "-"_);_(@_)</c:formatCode>
                <c:ptCount val="4"/>
                <c:pt idx="1">
                  <c:v>73.064222062999988</c:v>
                </c:pt>
                <c:pt idx="2">
                  <c:v>172</c:v>
                </c:pt>
                <c:pt idx="3">
                  <c:v>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9E-495B-BD7F-01C4FB93CB3D}"/>
            </c:ext>
          </c:extLst>
        </c:ser>
        <c:ser>
          <c:idx val="1"/>
          <c:order val="1"/>
          <c:tx>
            <c:strRef>
              <c:f>Hoja1!$D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6CBF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Hoja1!$B$3:$B$6</c:f>
              <c:numCache>
                <c:formatCode>General</c:formatCode>
                <c:ptCount val="4"/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Hoja1!$D$3:$D$6</c:f>
              <c:numCache>
                <c:formatCode>_(* #,##0_);_(* \(#,##0\);_(* "-"_);_(@_)</c:formatCode>
                <c:ptCount val="4"/>
                <c:pt idx="1">
                  <c:v>38.130000000000003</c:v>
                </c:pt>
                <c:pt idx="2">
                  <c:v>137.91999999999999</c:v>
                </c:pt>
                <c:pt idx="3">
                  <c:v>89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79E-495B-BD7F-01C4FB93CB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3585144"/>
        <c:axId val="583582792"/>
      </c:barChart>
      <c:catAx>
        <c:axId val="583585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3582792"/>
        <c:crosses val="autoZero"/>
        <c:auto val="1"/>
        <c:lblAlgn val="ctr"/>
        <c:lblOffset val="100"/>
        <c:noMultiLvlLbl val="0"/>
      </c:catAx>
      <c:valAx>
        <c:axId val="583582792"/>
        <c:scaling>
          <c:orientation val="minMax"/>
        </c:scaling>
        <c:delete val="1"/>
        <c:axPos val="l"/>
        <c:numFmt formatCode="_(* #,##0_);_(* \(#,##0\);_(* &quot;-&quot;_);_(@_)" sourceLinked="1"/>
        <c:majorTickMark val="none"/>
        <c:minorTickMark val="none"/>
        <c:tickLblPos val="nextTo"/>
        <c:crossAx val="583585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8454981680252139"/>
          <c:y val="0.81960193452890973"/>
          <c:w val="0.43090015472831528"/>
          <c:h val="0.104949061640145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ysClr val="windowText" lastClr="000000"/>
          </a:solidFill>
        </a:defRPr>
      </a:pPr>
      <a:endParaRPr lang="es-E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Inversión Desarrollo (Mus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-* #,##0.0_-;\-* #,##0.0_-;_-* "-"_-;_-@_-</c:formatCode>
                <c:ptCount val="4"/>
                <c:pt idx="0">
                  <c:v>79</c:v>
                </c:pt>
                <c:pt idx="1">
                  <c:v>96</c:v>
                </c:pt>
                <c:pt idx="2">
                  <c:v>67.900000000000006</c:v>
                </c:pt>
                <c:pt idx="3">
                  <c:v>11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6C-4A4C-BD36-AA341B231D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434736"/>
        <c:axId val="570438264"/>
      </c:barChart>
      <c:catAx>
        <c:axId val="5704347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70438264"/>
        <c:crosses val="autoZero"/>
        <c:auto val="1"/>
        <c:lblAlgn val="ctr"/>
        <c:lblOffset val="100"/>
        <c:noMultiLvlLbl val="0"/>
      </c:catAx>
      <c:valAx>
        <c:axId val="570438264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_-* #,##0.0_-;\-* #,##0.0_-;_-* &quot;-&quot;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70434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9050">
      <a:solidFill>
        <a:srgbClr val="3DB0AB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443317334238184E-3"/>
          <c:y val="9.705058370817192E-2"/>
          <c:w val="0.82706232166521709"/>
          <c:h val="0.78004251189450791"/>
        </c:manualLayout>
      </c:layout>
      <c:barChart>
        <c:barDir val="col"/>
        <c:grouping val="stacked"/>
        <c:varyColors val="0"/>
        <c:ser>
          <c:idx val="6"/>
          <c:order val="0"/>
          <c:tx>
            <c:strRef>
              <c:f>Hoja1!$C$39</c:f>
              <c:strCache>
                <c:ptCount val="1"/>
                <c:pt idx="0">
                  <c:v>Colombia Norte</c:v>
                </c:pt>
              </c:strCache>
            </c:strRef>
          </c:tx>
          <c:spPr>
            <a:solidFill>
              <a:srgbClr val="6CBF44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J$59:$Q$59</c:f>
              <c:strCache>
                <c:ptCount val="8"/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  <c:pt idx="6">
                  <c:v>Plan 21-23 Inicial</c:v>
                </c:pt>
                <c:pt idx="7">
                  <c:v>Plan 21-23</c:v>
                </c:pt>
              </c:strCache>
            </c:strRef>
          </c:cat>
          <c:val>
            <c:numRef>
              <c:f>(Hoja1!$D$39:$E$39,Hoja1!$D$44:$E$44,Hoja1!$D$49:$E$49,Hoja1!$D$54:$E$54)</c:f>
              <c:numCache>
                <c:formatCode>General</c:formatCode>
                <c:ptCount val="8"/>
                <c:pt idx="2" formatCode="_(* #,##0_);_(* \(#,##0\);_(* &quot;-&quot;_);_(@_)">
                  <c:v>43</c:v>
                </c:pt>
                <c:pt idx="3" formatCode="_(* #,##0_);_(* \(#,##0\);_(* &quot;-&quot;_);_(@_)">
                  <c:v>23.984170769999999</c:v>
                </c:pt>
                <c:pt idx="4" formatCode="_(* #,##0_);_(* \(#,##0\);_(* &quot;-&quot;_);_(@_)">
                  <c:v>87</c:v>
                </c:pt>
                <c:pt idx="5" formatCode="_(* #,##0_);_(* \(#,##0\);_(* &quot;-&quot;_);_(@_)">
                  <c:v>70.877901074999997</c:v>
                </c:pt>
                <c:pt idx="6" formatCode="_(* #,##0_);_(* \(#,##0\);_(* &quot;-&quot;_);_(@_)">
                  <c:v>35</c:v>
                </c:pt>
                <c:pt idx="7" formatCode="_(* #,##0_);_(* \(#,##0\);_(* &quot;-&quot;_);_(@_)">
                  <c:v>31.588582604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AC-4E30-A55D-0B902B52AFF9}"/>
            </c:ext>
          </c:extLst>
        </c:ser>
        <c:ser>
          <c:idx val="0"/>
          <c:order val="1"/>
          <c:tx>
            <c:strRef>
              <c:f>Hoja1!$C$40</c:f>
              <c:strCache>
                <c:ptCount val="1"/>
                <c:pt idx="0">
                  <c:v>Llanos</c:v>
                </c:pt>
              </c:strCache>
            </c:strRef>
          </c:tx>
          <c:spPr>
            <a:solidFill>
              <a:srgbClr val="25A9E0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J$59:$Q$59</c:f>
              <c:strCache>
                <c:ptCount val="8"/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  <c:pt idx="6">
                  <c:v>Plan 21-23 Inicial</c:v>
                </c:pt>
                <c:pt idx="7">
                  <c:v>Plan 21-23</c:v>
                </c:pt>
              </c:strCache>
            </c:strRef>
          </c:cat>
          <c:val>
            <c:numRef>
              <c:f>(Hoja1!$D$40:$E$40,Hoja1!$D$45:$E$45,Hoja1!$D$50:$E$50,Hoja1!$D$55:$E$55)</c:f>
              <c:numCache>
                <c:formatCode>General</c:formatCode>
                <c:ptCount val="8"/>
                <c:pt idx="2" formatCode="_(* #,##0_);_(* \(#,##0\);_(* &quot;-&quot;_);_(@_)">
                  <c:v>3</c:v>
                </c:pt>
                <c:pt idx="3" formatCode="_(* #,##0_);_(* \(#,##0\);_(* &quot;-&quot;_);_(@_)">
                  <c:v>1.5</c:v>
                </c:pt>
                <c:pt idx="4" formatCode="_(* #,##0_);_(* \(#,##0\);_(* &quot;-&quot;_);_(@_)">
                  <c:v>42</c:v>
                </c:pt>
                <c:pt idx="5" formatCode="_(* #,##0_);_(* \(#,##0\);_(* &quot;-&quot;_);_(@_)">
                  <c:v>39.956513814000004</c:v>
                </c:pt>
                <c:pt idx="6" formatCode="_(* #,##0_);_(* \(#,##0\);_(* &quot;-&quot;_);_(@_)">
                  <c:v>40</c:v>
                </c:pt>
                <c:pt idx="7" formatCode="_(* #,##0_);_(* \(#,##0\);_(* &quot;-&quot;_);_(@_)">
                  <c:v>36.733765227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AC-4E30-A55D-0B902B52AFF9}"/>
            </c:ext>
          </c:extLst>
        </c:ser>
        <c:ser>
          <c:idx val="4"/>
          <c:order val="2"/>
          <c:tx>
            <c:strRef>
              <c:f>Hoja1!$C$41</c:f>
              <c:strCache>
                <c:ptCount val="1"/>
                <c:pt idx="0">
                  <c:v>Tolima </c:v>
                </c:pt>
              </c:strCache>
            </c:strRef>
          </c:tx>
          <c:spPr>
            <a:solidFill>
              <a:srgbClr val="2B388F"/>
            </a:solidFill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A50-4889-9A63-C001EDF5A9D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50-4889-9A63-C001EDF5A9D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A50-4889-9A63-C001EDF5A9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J$59:$Q$59</c:f>
              <c:strCache>
                <c:ptCount val="8"/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  <c:pt idx="6">
                  <c:v>Plan 21-23 Inicial</c:v>
                </c:pt>
                <c:pt idx="7">
                  <c:v>Plan 21-23</c:v>
                </c:pt>
              </c:strCache>
            </c:strRef>
          </c:cat>
          <c:val>
            <c:numRef>
              <c:f>(Hoja1!$D$41:$E$41,Hoja1!$D$46:$E$46,Hoja1!$D$51:$E$51,Hoja1!$D$56:$E$56)</c:f>
              <c:numCache>
                <c:formatCode>General</c:formatCode>
                <c:ptCount val="8"/>
                <c:pt idx="2" formatCode="_(* #,##0_);_(* \(#,##0\);_(* &quot;-&quot;_);_(@_)">
                  <c:v>6.4222062999988297E-2</c:v>
                </c:pt>
                <c:pt idx="3" formatCode="_(* #,##0_);_(* \(#,##0\);_(* &quot;-&quot;_);_(@_)">
                  <c:v>0.5</c:v>
                </c:pt>
                <c:pt idx="4" formatCode="_(* #,##0_);_(* \(#,##0\);_(* &quot;-&quot;_);_(@_)">
                  <c:v>17</c:v>
                </c:pt>
                <c:pt idx="5" formatCode="_(* #,##0_);_(* \(#,##0\);_(* &quot;-&quot;_);_(@_)">
                  <c:v>11.7</c:v>
                </c:pt>
                <c:pt idx="6" formatCode="_(* #,##0_);_(* \(#,##0\);_(* &quot;-&quot;_);_(@_)">
                  <c:v>14</c:v>
                </c:pt>
                <c:pt idx="7" formatCode="_(* #,##0_);_(* \(#,##0\);_(* &quot;-&quot;_);_(@_)">
                  <c:v>14.329862738771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AC-4E30-A55D-0B902B52AFF9}"/>
            </c:ext>
          </c:extLst>
        </c:ser>
        <c:ser>
          <c:idx val="8"/>
          <c:order val="3"/>
          <c:tx>
            <c:strRef>
              <c:f>Hoja1!$C$42</c:f>
              <c:strCache>
                <c:ptCount val="1"/>
                <c:pt idx="0">
                  <c:v>Transversal</c:v>
                </c:pt>
              </c:strCache>
            </c:strRef>
          </c:tx>
          <c:spPr>
            <a:solidFill>
              <a:srgbClr val="3DB0AA"/>
            </a:solidFill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J$59:$Q$59</c:f>
              <c:strCache>
                <c:ptCount val="8"/>
                <c:pt idx="2">
                  <c:v>Plan 21-23 Inicial</c:v>
                </c:pt>
                <c:pt idx="3">
                  <c:v>Plan 21-23</c:v>
                </c:pt>
                <c:pt idx="4">
                  <c:v>Plan 21-23 Inicial</c:v>
                </c:pt>
                <c:pt idx="5">
                  <c:v>Plan 21-23</c:v>
                </c:pt>
                <c:pt idx="6">
                  <c:v>Plan 21-23 Inicial</c:v>
                </c:pt>
                <c:pt idx="7">
                  <c:v>Plan 21-23</c:v>
                </c:pt>
              </c:strCache>
            </c:strRef>
          </c:cat>
          <c:val>
            <c:numRef>
              <c:f>(Hoja1!$D$42:$E$42,Hoja1!$D$47:$E$47,Hoja1!$D$52:$E$52,Hoja1!$D$57:$E$57)</c:f>
              <c:numCache>
                <c:formatCode>General</c:formatCode>
                <c:ptCount val="8"/>
                <c:pt idx="2" formatCode="_(* #,##0_);_(* \(#,##0\);_(* &quot;-&quot;_);_(@_)">
                  <c:v>27</c:v>
                </c:pt>
                <c:pt idx="3" formatCode="_(* #,##0_);_(* \(#,##0\);_(* &quot;-&quot;_);_(@_)">
                  <c:v>12.149999999999999</c:v>
                </c:pt>
                <c:pt idx="4" formatCode="_(* #,##0_);_(* \(#,##0\);_(* &quot;-&quot;_);_(@_)">
                  <c:v>26</c:v>
                </c:pt>
                <c:pt idx="5" formatCode="_(* #,##0_);_(* \(#,##0\);_(* &quot;-&quot;_);_(@_)">
                  <c:v>15.38394800096118</c:v>
                </c:pt>
                <c:pt idx="6" formatCode="_(* #,##0_);_(* \(#,##0\);_(* &quot;-&quot;_);_(@_)">
                  <c:v>17</c:v>
                </c:pt>
                <c:pt idx="7" formatCode="_(* #,##0_);_(* \(#,##0\);_(* &quot;-&quot;_);_(@_)">
                  <c:v>6.609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AC-4E30-A55D-0B902B52A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3585928"/>
        <c:axId val="583586320"/>
      </c:barChart>
      <c:scatterChart>
        <c:scatterStyle val="lineMarker"/>
        <c:varyColors val="0"/>
        <c:ser>
          <c:idx val="1"/>
          <c:order val="4"/>
          <c:tx>
            <c:strRef>
              <c:f>Hoja1!$C$43</c:f>
              <c:strCache>
                <c:ptCount val="1"/>
                <c:pt idx="0">
                  <c:v>Total</c:v>
                </c:pt>
              </c:strCache>
            </c:strRef>
          </c:tx>
          <c:spPr>
            <a:ln w="44450">
              <a:noFill/>
            </a:ln>
            <a:effectLst/>
          </c:spPr>
          <c:marker>
            <c:spPr>
              <a:noFill/>
              <a:ln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3.3804575418852248E-2"/>
                  <c:y val="-3.5971503601050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1C1-4037-A59E-D4C58EBCF902}"/>
                </c:ext>
              </c:extLst>
            </c:dLbl>
            <c:dLbl>
              <c:idx val="2"/>
              <c:layout>
                <c:manualLayout>
                  <c:x val="-3.5876244061488469E-2"/>
                  <c:y val="-3.18439458152414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1C1-4037-A59E-D4C58EBCF902}"/>
                </c:ext>
              </c:extLst>
            </c:dLbl>
            <c:dLbl>
              <c:idx val="3"/>
              <c:layout>
                <c:manualLayout>
                  <c:x val="-3.5876244061488503E-2"/>
                  <c:y val="-3.18439458152414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1C1-4037-A59E-D4C58EBCF902}"/>
                </c:ext>
              </c:extLst>
            </c:dLbl>
            <c:dLbl>
              <c:idx val="4"/>
              <c:layout>
                <c:manualLayout>
                  <c:x val="-3.5876244061488427E-2"/>
                  <c:y val="-2.7716388029432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1C1-4037-A59E-D4C58EBCF902}"/>
                </c:ext>
              </c:extLst>
            </c:dLbl>
            <c:dLbl>
              <c:idx val="5"/>
              <c:layout>
                <c:manualLayout>
                  <c:x val="-4.7865985549866534E-2"/>
                  <c:y val="-2.7716388029432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1C1-4037-A59E-D4C58EBCF902}"/>
                </c:ext>
              </c:extLst>
            </c:dLbl>
            <c:dLbl>
              <c:idx val="6"/>
              <c:layout>
                <c:manualLayout>
                  <c:x val="-4.0019581346760792E-2"/>
                  <c:y val="-3.18439458152414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1C1-4037-A59E-D4C58EBCF902}"/>
                </c:ext>
              </c:extLst>
            </c:dLbl>
            <c:dLbl>
              <c:idx val="7"/>
              <c:layout>
                <c:manualLayout>
                  <c:x val="-3.3364305051413419E-2"/>
                  <c:y val="-4.83541769584774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1C1-4037-A59E-D4C58EBCF90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100" b="1"/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yVal>
            <c:numRef>
              <c:f>(Hoja1!$D$43:$E$43,Hoja1!$D$48:$E$48,Hoja1!$D$53:$E$53,Hoja1!$D$58:$E$58)</c:f>
              <c:numCache>
                <c:formatCode>_(* #,##0_);_(* \(#,##0\);_(* "-"_);_(@_)</c:formatCode>
                <c:ptCount val="8"/>
                <c:pt idx="1">
                  <c:v>0</c:v>
                </c:pt>
                <c:pt idx="2">
                  <c:v>73.064222062999988</c:v>
                </c:pt>
                <c:pt idx="3">
                  <c:v>38.134170769999997</c:v>
                </c:pt>
                <c:pt idx="4">
                  <c:v>172</c:v>
                </c:pt>
                <c:pt idx="5">
                  <c:v>137.91836288996117</c:v>
                </c:pt>
                <c:pt idx="6">
                  <c:v>106</c:v>
                </c:pt>
                <c:pt idx="7">
                  <c:v>89.26221057077128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4-A0AC-4E30-A55D-0B902B52AF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3585928"/>
        <c:axId val="583586320"/>
      </c:scatterChart>
      <c:catAx>
        <c:axId val="58358592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 b="1"/>
            </a:pPr>
            <a:endParaRPr lang="es-ES"/>
          </a:p>
        </c:txPr>
        <c:crossAx val="583586320"/>
        <c:crosses val="autoZero"/>
        <c:auto val="1"/>
        <c:lblAlgn val="ctr"/>
        <c:lblOffset val="100"/>
        <c:noMultiLvlLbl val="0"/>
      </c:catAx>
      <c:valAx>
        <c:axId val="583586320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83585928"/>
        <c:crosses val="autoZero"/>
        <c:crossBetween val="between"/>
      </c:valAx>
    </c:plotArea>
    <c:legend>
      <c:legendPos val="r"/>
      <c:legendEntry>
        <c:idx val="4"/>
        <c:delete val="1"/>
      </c:legendEntry>
      <c:layout>
        <c:manualLayout>
          <c:xMode val="edge"/>
          <c:yMode val="edge"/>
          <c:x val="0.84832742934957439"/>
          <c:y val="0.37904695665739319"/>
          <c:w val="0.13335395847295667"/>
          <c:h val="0.45412056051133143"/>
        </c:manualLayout>
      </c:layout>
      <c:overlay val="0"/>
      <c:txPr>
        <a:bodyPr/>
        <a:lstStyle/>
        <a:p>
          <a:pPr>
            <a:defRPr sz="900" b="1"/>
          </a:pPr>
          <a:endParaRPr lang="es-ES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2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>
        <c:manualLayout>
          <c:layoutTarget val="inner"/>
          <c:xMode val="edge"/>
          <c:yMode val="edge"/>
          <c:x val="1.937480625727837E-2"/>
          <c:y val="7.7169166121677998E-2"/>
          <c:w val="0.96125055041831797"/>
          <c:h val="0.77301023025543081"/>
        </c:manualLayout>
      </c:layout>
      <c:barChart>
        <c:barDir val="col"/>
        <c:grouping val="stacked"/>
        <c:varyColors val="0"/>
        <c:ser>
          <c:idx val="16"/>
          <c:order val="0"/>
          <c:tx>
            <c:strRef>
              <c:f>Hoja1!$C$149</c:f>
              <c:strCache>
                <c:ptCount val="1"/>
                <c:pt idx="0">
                  <c:v>Perforación Aprraissal Arrecife 2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49:$E$149</c:f>
              <c:numCache>
                <c:formatCode>_(* #,##0_);_(* \(#,##0\);_(* "-"_);_(@_)</c:formatCode>
                <c:ptCount val="2"/>
                <c:pt idx="1">
                  <c:v>12.1720848307712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C84-4B32-9271-B331E1954DB0}"/>
            </c:ext>
          </c:extLst>
        </c:ser>
        <c:ser>
          <c:idx val="5"/>
          <c:order val="1"/>
          <c:tx>
            <c:strRef>
              <c:f>Hoja1!$C$134</c:f>
              <c:strCache>
                <c:ptCount val="1"/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4:$E$134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1-BC84-4B32-9271-B331E1954DB0}"/>
            </c:ext>
          </c:extLst>
        </c:ser>
        <c:ser>
          <c:idx val="6"/>
          <c:order val="2"/>
          <c:tx>
            <c:strRef>
              <c:f>Hoja1!$C$135</c:f>
              <c:strCache>
                <c:ptCount val="1"/>
                <c:pt idx="0">
                  <c:v>Estercita-1 A3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5:$E$135</c:f>
              <c:numCache>
                <c:formatCode>_(* #,##0_);_(* \(#,##0\);_(* "-"_);_(@_)</c:formatCode>
                <c:ptCount val="2"/>
                <c:pt idx="0">
                  <c:v>12.699113629999999</c:v>
                </c:pt>
                <c:pt idx="1">
                  <c:v>12.69911362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C84-4B32-9271-B331E1954DB0}"/>
            </c:ext>
          </c:extLst>
        </c:ser>
        <c:ser>
          <c:idx val="7"/>
          <c:order val="3"/>
          <c:tx>
            <c:strRef>
              <c:f>Hoja1!$C$136</c:f>
              <c:strCache>
                <c:ptCount val="1"/>
              </c:strCache>
            </c:strRef>
          </c:tx>
          <c:spPr>
            <a:solidFill>
              <a:srgbClr val="EE167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6:$E$136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3-BC84-4B32-9271-B331E1954DB0}"/>
            </c:ext>
          </c:extLst>
        </c:ser>
        <c:ser>
          <c:idx val="8"/>
          <c:order val="4"/>
          <c:tx>
            <c:strRef>
              <c:f>Hoja1!$C$137</c:f>
              <c:strCache>
                <c:ptCount val="1"/>
                <c:pt idx="0">
                  <c:v>Igua-1 A3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7:$E$137</c:f>
              <c:numCache>
                <c:formatCode>_(* #,##0_);_(* \(#,##0\);_(* "-"_);_(@_)</c:formatCode>
                <c:ptCount val="2"/>
                <c:pt idx="0">
                  <c:v>10.389037849999999</c:v>
                </c:pt>
                <c:pt idx="1">
                  <c:v>10.979134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C84-4B32-9271-B331E1954DB0}"/>
            </c:ext>
          </c:extLst>
        </c:ser>
        <c:ser>
          <c:idx val="13"/>
          <c:order val="5"/>
          <c:tx>
            <c:strRef>
              <c:f>Hoja1!$C$145</c:f>
              <c:strCache>
                <c:ptCount val="1"/>
                <c:pt idx="0">
                  <c:v>Piñuelo-1 A3</c:v>
                </c:pt>
              </c:strCache>
            </c:strRef>
          </c:tx>
          <c:spPr>
            <a:solidFill>
              <a:srgbClr val="6CBF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45:$E$145</c:f>
              <c:numCache>
                <c:formatCode>General</c:formatCode>
                <c:ptCount val="2"/>
                <c:pt idx="0" formatCode="_(* #,##0_);_(* \(#,##0\);_(* &quot;-&quot;_);_(@_)">
                  <c:v>9.835544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C84-4B32-9271-B331E1954DB0}"/>
            </c:ext>
          </c:extLst>
        </c:ser>
        <c:ser>
          <c:idx val="2"/>
          <c:order val="6"/>
          <c:tx>
            <c:strRef>
              <c:f>Hoja1!$C$131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1:$E$131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6-BC84-4B32-9271-B331E1954DB0}"/>
            </c:ext>
          </c:extLst>
        </c:ser>
        <c:ser>
          <c:idx val="3"/>
          <c:order val="7"/>
          <c:tx>
            <c:strRef>
              <c:f>Hoja1!$C$132</c:f>
              <c:strCache>
                <c:ptCount val="1"/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2:$E$132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7-BC84-4B32-9271-B331E1954DB0}"/>
            </c:ext>
          </c:extLst>
        </c:ser>
        <c:ser>
          <c:idx val="15"/>
          <c:order val="8"/>
          <c:tx>
            <c:strRef>
              <c:f>Hoja1!$C$147</c:f>
              <c:strCache>
                <c:ptCount val="1"/>
                <c:pt idx="0">
                  <c:v>Vencejo-1 A3</c:v>
                </c:pt>
              </c:strCache>
            </c:strRef>
          </c:tx>
          <c:spPr>
            <a:solidFill>
              <a:srgbClr val="3DB0A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47:$E$147</c:f>
              <c:numCache>
                <c:formatCode>_(* #,##0_);_(* \(#,##0\);_(* "-"_);_(@_)</c:formatCode>
                <c:ptCount val="2"/>
                <c:pt idx="0">
                  <c:v>7.6771877500000008</c:v>
                </c:pt>
                <c:pt idx="1">
                  <c:v>6.909468975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C84-4B32-9271-B331E1954DB0}"/>
            </c:ext>
          </c:extLst>
        </c:ser>
        <c:ser>
          <c:idx val="9"/>
          <c:order val="9"/>
          <c:tx>
            <c:strRef>
              <c:f>Hoja1!$C$138</c:f>
              <c:strCache>
                <c:ptCount val="1"/>
                <c:pt idx="0">
                  <c:v>LLA100-2 A3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8:$E$138</c:f>
              <c:numCache>
                <c:formatCode>_(* #,##0_);_(* \(#,##0\);_(* "-"_);_(@_)</c:formatCode>
                <c:ptCount val="2"/>
                <c:pt idx="0">
                  <c:v>4.7057953799999996</c:v>
                </c:pt>
                <c:pt idx="1">
                  <c:v>4.235215841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C84-4B32-9271-B331E1954DB0}"/>
            </c:ext>
          </c:extLst>
        </c:ser>
        <c:ser>
          <c:idx val="19"/>
          <c:order val="10"/>
          <c:tx>
            <c:strRef>
              <c:f>Hoja1!$C$141</c:f>
              <c:strCache>
                <c:ptCount val="1"/>
                <c:pt idx="0">
                  <c:v>Pozo LLA124-3 A3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41:$E$141</c:f>
              <c:numCache>
                <c:formatCode>_(* #,##0_);_(* \(#,##0\);_(* "-"_);_(@_)</c:formatCode>
                <c:ptCount val="2"/>
                <c:pt idx="0">
                  <c:v>5.2231110000000003</c:v>
                </c:pt>
                <c:pt idx="1">
                  <c:v>4.7007999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C84-4B32-9271-B331E1954DB0}"/>
            </c:ext>
          </c:extLst>
        </c:ser>
        <c:ser>
          <c:idx val="20"/>
          <c:order val="11"/>
          <c:tx>
            <c:strRef>
              <c:f>Hoja1!$C$142</c:f>
              <c:strCache>
                <c:ptCount val="1"/>
                <c:pt idx="0">
                  <c:v>Pozo LLA123-2 A3</c:v>
                </c:pt>
              </c:strCache>
            </c:strRef>
          </c:tx>
          <c:spPr>
            <a:solidFill>
              <a:schemeClr val="accent3">
                <a:lumMod val="8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42:$E$142</c:f>
              <c:numCache>
                <c:formatCode>_(* #,##0_);_(* \(#,##0\);_(* "-"_);_(@_)</c:formatCode>
                <c:ptCount val="2"/>
                <c:pt idx="0">
                  <c:v>5.3898679999999999</c:v>
                </c:pt>
                <c:pt idx="1">
                  <c:v>4.8508811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C84-4B32-9271-B331E1954DB0}"/>
            </c:ext>
          </c:extLst>
        </c:ser>
        <c:ser>
          <c:idx val="18"/>
          <c:order val="12"/>
          <c:tx>
            <c:strRef>
              <c:f>Hoja1!$C$140</c:f>
              <c:strCache>
                <c:ptCount val="1"/>
                <c:pt idx="0">
                  <c:v>Pozo LLA124-2 A3</c:v>
                </c:pt>
              </c:strCache>
            </c:strRef>
          </c:tx>
          <c:spPr>
            <a:solidFill>
              <a:schemeClr val="accent1">
                <a:lumMod val="8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40:$E$140</c:f>
              <c:numCache>
                <c:formatCode>_(* #,##0_);_(* \(#,##0\);_(* "-"_);_(@_)</c:formatCode>
                <c:ptCount val="2"/>
                <c:pt idx="0">
                  <c:v>5.2231110000000003</c:v>
                </c:pt>
                <c:pt idx="1">
                  <c:v>4.7007999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C84-4B32-9271-B331E1954DB0}"/>
            </c:ext>
          </c:extLst>
        </c:ser>
        <c:ser>
          <c:idx val="10"/>
          <c:order val="13"/>
          <c:tx>
            <c:strRef>
              <c:f>Hoja1!$C$139</c:f>
              <c:strCache>
                <c:ptCount val="1"/>
                <c:pt idx="0">
                  <c:v>LLA123-1 A3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9:$E$139</c:f>
              <c:numCache>
                <c:formatCode>_(* #,##0_);_(* \(#,##0\);_(* "-"_);_(@_)</c:formatCode>
                <c:ptCount val="2"/>
                <c:pt idx="0">
                  <c:v>5.3898679999999999</c:v>
                </c:pt>
                <c:pt idx="1">
                  <c:v>4.8508811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BC84-4B32-9271-B331E1954DB0}"/>
            </c:ext>
          </c:extLst>
        </c:ser>
        <c:ser>
          <c:idx val="0"/>
          <c:order val="14"/>
          <c:tx>
            <c:strRef>
              <c:f>Hoja1!$C$129</c:f>
              <c:strCache>
                <c:ptCount val="1"/>
                <c:pt idx="0">
                  <c:v>Bull Footwall-1 A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29:$E$129</c:f>
              <c:numCache>
                <c:formatCode>General</c:formatCode>
                <c:ptCount val="2"/>
                <c:pt idx="0" formatCode="_(* #,##0_);_(* \(#,##0\);_(* &quot;-&quot;_);_(@_)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C84-4B32-9271-B331E1954DB0}"/>
            </c:ext>
          </c:extLst>
        </c:ser>
        <c:ser>
          <c:idx val="1"/>
          <c:order val="15"/>
          <c:tx>
            <c:strRef>
              <c:f>Hoja1!$C$130</c:f>
              <c:strCache>
                <c:ptCount val="1"/>
                <c:pt idx="0">
                  <c:v>Arbolito Norte-1 A3</c:v>
                </c:pt>
              </c:strCache>
            </c:strRef>
          </c:tx>
          <c:spPr>
            <a:solidFill>
              <a:srgbClr val="6CBF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0:$E$130</c:f>
              <c:numCache>
                <c:formatCode>_(* #,##0_);_(* \(#,##0\);_(* "-"_);_(@_)</c:formatCode>
                <c:ptCount val="2"/>
                <c:pt idx="0">
                  <c:v>3.44394752</c:v>
                </c:pt>
                <c:pt idx="1">
                  <c:v>3.158643843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BC84-4B32-9271-B331E1954DB0}"/>
            </c:ext>
          </c:extLst>
        </c:ser>
        <c:ser>
          <c:idx val="4"/>
          <c:order val="16"/>
          <c:tx>
            <c:strRef>
              <c:f>Hoja1!$C$133</c:f>
              <c:strCache>
                <c:ptCount val="1"/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33:$E$13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10-BC84-4B32-9271-B331E1954DB0}"/>
            </c:ext>
          </c:extLst>
        </c:ser>
        <c:ser>
          <c:idx val="14"/>
          <c:order val="17"/>
          <c:tx>
            <c:strRef>
              <c:f>Hoja1!$C$146</c:f>
              <c:strCache>
                <c:ptCount val="1"/>
                <c:pt idx="0">
                  <c:v>Pozo Varanteno-1 A3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46:$E$146</c:f>
              <c:numCache>
                <c:formatCode>_(* #,##0_);_(* \(#,##0\);_(* "-"_);_(@_)</c:formatCode>
                <c:ptCount val="2"/>
                <c:pt idx="0">
                  <c:v>4.7248746500000003</c:v>
                </c:pt>
                <c:pt idx="1">
                  <c:v>4.2523871850000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C84-4B32-9271-B331E1954DB0}"/>
            </c:ext>
          </c:extLst>
        </c:ser>
        <c:ser>
          <c:idx val="11"/>
          <c:order val="18"/>
          <c:tx>
            <c:strRef>
              <c:f>Hoja1!$C$143</c:f>
              <c:strCache>
                <c:ptCount val="1"/>
                <c:pt idx="0">
                  <c:v>Lumbalú Este-1 A3</c:v>
                </c:pt>
              </c:strCache>
            </c:strRef>
          </c:tx>
          <c:spPr>
            <a:solidFill>
              <a:schemeClr val="accent6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43:$E$143</c:f>
              <c:numCache>
                <c:formatCode>General</c:formatCode>
                <c:ptCount val="2"/>
                <c:pt idx="0" formatCode="_(* #,##0_);_(* \(#,##0\);_(* &quot;-&quot;_);_(@_)">
                  <c:v>2.0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C84-4B32-9271-B331E1954DB0}"/>
            </c:ext>
          </c:extLst>
        </c:ser>
        <c:ser>
          <c:idx val="12"/>
          <c:order val="19"/>
          <c:tx>
            <c:strRef>
              <c:f>Hoja1!$C$144</c:f>
              <c:strCache>
                <c:ptCount val="1"/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68:$E$68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44:$E$144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13-BC84-4B32-9271-B331E1954D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3580832"/>
        <c:axId val="582931016"/>
      </c:barChart>
      <c:scatterChart>
        <c:scatterStyle val="lineMarker"/>
        <c:varyColors val="0"/>
        <c:ser>
          <c:idx val="17"/>
          <c:order val="20"/>
          <c:tx>
            <c:strRef>
              <c:f>Hoja1!$C$150:$E$150</c:f>
              <c:strCache>
                <c:ptCount val="3"/>
                <c:pt idx="0">
                  <c:v>Perforación Aprraissal Arrecife 2</c:v>
                </c:pt>
                <c:pt idx="1">
                  <c:v> 80 </c:v>
                </c:pt>
                <c:pt idx="2">
                  <c:v> 74 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80000"/>
                  <a:lumOff val="20000"/>
                </a:schemeClr>
              </a:solidFill>
              <a:ln w="9525">
                <a:solidFill>
                  <a:schemeClr val="accent6">
                    <a:lumMod val="80000"/>
                    <a:lumOff val="20000"/>
                  </a:schemeClr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yVal>
            <c:numRef>
              <c:f>Hoja1!$D$150:$E$150</c:f>
              <c:numCache>
                <c:formatCode>_(* #,##0_);_(* \(#,##0\);_(* "-"_);_(@_)</c:formatCode>
                <c:ptCount val="2"/>
                <c:pt idx="0">
                  <c:v>79.76395878000001</c:v>
                </c:pt>
                <c:pt idx="1">
                  <c:v>73.5094105707712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BC84-4B32-9271-B331E1954D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3580832"/>
        <c:axId val="582931016"/>
      </c:scatterChart>
      <c:catAx>
        <c:axId val="583580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2931016"/>
        <c:crosses val="autoZero"/>
        <c:auto val="1"/>
        <c:lblAlgn val="ctr"/>
        <c:lblOffset val="100"/>
        <c:noMultiLvlLbl val="0"/>
      </c:catAx>
      <c:valAx>
        <c:axId val="582931016"/>
        <c:scaling>
          <c:orientation val="minMax"/>
        </c:scaling>
        <c:delete val="1"/>
        <c:axPos val="l"/>
        <c:numFmt formatCode="_(* #,##0_);_(* \(#,##0\);_(* &quot;-&quot;_);_(@_)" sourceLinked="1"/>
        <c:majorTickMark val="none"/>
        <c:minorTickMark val="none"/>
        <c:tickLblPos val="nextTo"/>
        <c:crossAx val="5835808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egendEntry>
        <c:idx val="3"/>
        <c:delete val="1"/>
      </c:legendEntry>
      <c:legendEntry>
        <c:idx val="6"/>
        <c:delete val="1"/>
      </c:legendEntry>
      <c:legendEntry>
        <c:idx val="7"/>
        <c:delete val="1"/>
      </c:legendEntry>
      <c:legendEntry>
        <c:idx val="16"/>
        <c:delete val="1"/>
      </c:legendEntry>
      <c:legendEntry>
        <c:idx val="19"/>
        <c:delete val="1"/>
      </c:legendEntry>
      <c:legendEntry>
        <c:idx val="20"/>
        <c:delete val="1"/>
      </c:legendEntry>
      <c:layout>
        <c:manualLayout>
          <c:xMode val="edge"/>
          <c:yMode val="edge"/>
          <c:x val="0.36254580126007807"/>
          <c:y val="9.2269699277607475E-2"/>
          <c:w val="0.2503263850508276"/>
          <c:h val="0.7459664218048075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ysClr val="windowText" lastClr="000000"/>
          </a:solidFill>
        </a:defRPr>
      </a:pPr>
      <a:endParaRPr lang="es-E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2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>
        <c:manualLayout>
          <c:layoutTarget val="inner"/>
          <c:xMode val="edge"/>
          <c:yMode val="edge"/>
          <c:x val="1.9374724790841038E-2"/>
          <c:y val="7.9399513815175418E-2"/>
          <c:w val="0.96125055041831797"/>
          <c:h val="0.773010230255430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C$97</c:f>
              <c:strCache>
                <c:ptCount val="1"/>
                <c:pt idx="0">
                  <c:v>Guepaje Sur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97:$E$97</c:f>
              <c:numCache>
                <c:formatCode>General</c:formatCode>
                <c:ptCount val="2"/>
                <c:pt idx="0" formatCode="_(* #,##0_);_(* \(#,##0\);_(* &quot;-&quot;_);_(@_)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C5-4AEF-9951-1D228EC4E72C}"/>
            </c:ext>
          </c:extLst>
        </c:ser>
        <c:ser>
          <c:idx val="1"/>
          <c:order val="1"/>
          <c:tx>
            <c:strRef>
              <c:f>Hoja1!$C$98</c:f>
              <c:strCache>
                <c:ptCount val="1"/>
                <c:pt idx="0">
                  <c:v>Basari</c:v>
                </c:pt>
              </c:strCache>
            </c:strRef>
          </c:tx>
          <c:spPr>
            <a:solidFill>
              <a:srgbClr val="6CBF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98:$E$98</c:f>
              <c:numCache>
                <c:formatCode>_(* #,##0_);_(* \(#,##0\);_(* "-"_);_(@_)</c:formatCode>
                <c:ptCount val="2"/>
                <c:pt idx="0">
                  <c:v>10.51417077</c:v>
                </c:pt>
                <c:pt idx="1">
                  <c:v>10.51417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C5-4AEF-9951-1D228EC4E72C}"/>
            </c:ext>
          </c:extLst>
        </c:ser>
        <c:ser>
          <c:idx val="8"/>
          <c:order val="2"/>
          <c:tx>
            <c:strRef>
              <c:f>Hoja1!$C$105</c:f>
              <c:strCache>
                <c:ptCount val="1"/>
                <c:pt idx="0">
                  <c:v>Bololó</c:v>
                </c:pt>
              </c:strCache>
            </c:strRef>
          </c:tx>
          <c:spPr>
            <a:solidFill>
              <a:srgbClr val="2B388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05:$E$105</c:f>
              <c:numCache>
                <c:formatCode>General</c:formatCode>
                <c:ptCount val="2"/>
                <c:pt idx="0" formatCode="_(* #,##0_);_(* \(#,##0\);_(* &quot;-&quot;_);_(@_)">
                  <c:v>9.70266732999999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C5-4AEF-9951-1D228EC4E72C}"/>
            </c:ext>
          </c:extLst>
        </c:ser>
        <c:ser>
          <c:idx val="2"/>
          <c:order val="3"/>
          <c:tx>
            <c:strRef>
              <c:f>Hoja1!$C$99</c:f>
              <c:strCache>
                <c:ptCount val="1"/>
                <c:pt idx="0">
                  <c:v>SN-8</c:v>
                </c:pt>
              </c:strCache>
              <c:extLst xmlns:c15="http://schemas.microsoft.com/office/drawing/2012/chart"/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  <c:extLst xmlns:c15="http://schemas.microsoft.com/office/drawing/2012/chart"/>
            </c:strRef>
          </c:cat>
          <c:val>
            <c:numRef>
              <c:f>Hoja1!$D$99:$E$99</c:f>
              <c:numCache>
                <c:formatCode>General</c:formatCode>
                <c:ptCount val="2"/>
              </c:numCache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3-31C5-4AEF-9951-1D228EC4E72C}"/>
            </c:ext>
          </c:extLst>
        </c:ser>
        <c:ser>
          <c:idx val="11"/>
          <c:order val="4"/>
          <c:tx>
            <c:strRef>
              <c:f>Hoja1!$C$107</c:f>
              <c:strCache>
                <c:ptCount val="1"/>
                <c:pt idx="0">
                  <c:v>Obras civiles</c:v>
                </c:pt>
              </c:strCache>
            </c:strRef>
          </c:tx>
          <c:spPr>
            <a:solidFill>
              <a:srgbClr val="EE167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07:$E$107</c:f>
              <c:numCache>
                <c:formatCode>_(* #,##0_);_(* \(#,##0\);_(* "-"_);_(@_)</c:formatCode>
                <c:ptCount val="2"/>
                <c:pt idx="0">
                  <c:v>7.0250921300000009</c:v>
                </c:pt>
                <c:pt idx="1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1C5-4AEF-9951-1D228EC4E72C}"/>
            </c:ext>
          </c:extLst>
        </c:ser>
        <c:ser>
          <c:idx val="9"/>
          <c:order val="5"/>
          <c:tx>
            <c:strRef>
              <c:f>Hoja1!$C$106</c:f>
              <c:strCache>
                <c:ptCount val="1"/>
                <c:pt idx="0">
                  <c:v>Cha cha 5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06:$E$106</c:f>
              <c:numCache>
                <c:formatCode>_(* #,##0_);_(* \(#,##0\);_(* "-"_);_(@_)</c:formatCode>
                <c:ptCount val="2"/>
                <c:pt idx="0">
                  <c:v>1.8</c:v>
                </c:pt>
                <c:pt idx="1">
                  <c:v>1.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1C5-4AEF-9951-1D228EC4E72C}"/>
            </c:ext>
          </c:extLst>
        </c:ser>
        <c:ser>
          <c:idx val="3"/>
          <c:order val="6"/>
          <c:tx>
            <c:strRef>
              <c:f>Hoja1!$C$100</c:f>
              <c:strCache>
                <c:ptCount val="1"/>
                <c:pt idx="0">
                  <c:v>Cha cha 4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00:$E$100</c:f>
              <c:numCache>
                <c:formatCode>_(* #,##0_);_(* \(#,##0\);_(* "-"_);_(@_)</c:formatCode>
                <c:ptCount val="2"/>
                <c:pt idx="0">
                  <c:v>1.75</c:v>
                </c:pt>
                <c:pt idx="1">
                  <c:v>1.5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1C5-4AEF-9951-1D228EC4E72C}"/>
            </c:ext>
          </c:extLst>
        </c:ser>
        <c:ser>
          <c:idx val="4"/>
          <c:order val="7"/>
          <c:tx>
            <c:strRef>
              <c:f>Hoja1!$C$101</c:f>
              <c:strCache>
                <c:ptCount val="1"/>
                <c:pt idx="0">
                  <c:v>Lower Porquero A3</c:v>
                </c:pt>
              </c:strCache>
            </c:strRef>
          </c:tx>
          <c:spPr>
            <a:solidFill>
              <a:srgbClr val="3DB0A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01:$E$101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7-31C5-4AEF-9951-1D228EC4E72C}"/>
            </c:ext>
          </c:extLst>
        </c:ser>
        <c:ser>
          <c:idx val="6"/>
          <c:order val="8"/>
          <c:tx>
            <c:strRef>
              <c:f>Hoja1!$C$103</c:f>
              <c:strCache>
                <c:ptCount val="1"/>
              </c:strCache>
              <c:extLst xmlns:c15="http://schemas.microsoft.com/office/drawing/2012/chart"/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  <c:extLst xmlns:c15="http://schemas.microsoft.com/office/drawing/2012/chart"/>
            </c:strRef>
          </c:cat>
          <c:val>
            <c:numRef>
              <c:f>Hoja1!$D$103:$E$103</c:f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8-31C5-4AEF-9951-1D228EC4E72C}"/>
            </c:ext>
          </c:extLst>
        </c:ser>
        <c:ser>
          <c:idx val="7"/>
          <c:order val="9"/>
          <c:tx>
            <c:strRef>
              <c:f>Hoja1!$C$104</c:f>
              <c:strCache>
                <c:ptCount val="1"/>
              </c:strCache>
              <c:extLst xmlns:c15="http://schemas.microsoft.com/office/drawing/2012/chart"/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  <c:extLst xmlns:c15="http://schemas.microsoft.com/office/drawing/2012/chart"/>
            </c:strRef>
          </c:cat>
          <c:val>
            <c:numRef>
              <c:f>Hoja1!$D$104:$E$104</c:f>
              <c:extLst xmlns:c15="http://schemas.microsoft.com/office/drawing/2012/chart"/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9-31C5-4AEF-9951-1D228EC4E72C}"/>
            </c:ext>
          </c:extLst>
        </c:ser>
        <c:ser>
          <c:idx val="5"/>
          <c:order val="11"/>
          <c:tx>
            <c:strRef>
              <c:f>Hoja1!$C$102</c:f>
              <c:strCache>
                <c:ptCount val="1"/>
                <c:pt idx="0">
                  <c:v>BS 3 ST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02:$E$102</c:f>
              <c:numCache>
                <c:formatCode>General</c:formatCode>
                <c:ptCount val="2"/>
                <c:pt idx="0" formatCode="_(* #,##0_);_(* \(#,##0\);_(* &quot;-&quot;_);_(@_)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1C5-4AEF-9951-1D228EC4E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82932976"/>
        <c:axId val="582933760"/>
        <c:extLst/>
      </c:barChart>
      <c:scatterChart>
        <c:scatterStyle val="lineMarker"/>
        <c:varyColors val="0"/>
        <c:ser>
          <c:idx val="10"/>
          <c:order val="10"/>
          <c:tx>
            <c:strRef>
              <c:f>Hoja1!$C$95</c:f>
              <c:strCache>
                <c:ptCount val="1"/>
                <c:pt idx="0">
                  <c:v>Tota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400" b="1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E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FB60-43D2-B4BF-270AA4E1131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yVal>
            <c:numRef>
              <c:f>Hoja1!$D$95:$E$95</c:f>
              <c:numCache>
                <c:formatCode>_-* #,##0.0_-;\-* #,##0.0_-;_-* "-"_-;_-@_-</c:formatCode>
                <c:ptCount val="2"/>
                <c:pt idx="0" formatCode="_(* #,##0_);_(* \(#,##0\);_(* &quot;-&quot;_);_(@_)">
                  <c:v>31.291930229999998</c:v>
                </c:pt>
                <c:pt idx="1">
                  <c:v>16.08917076999999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B-31C5-4AEF-9951-1D228EC4E7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2932976"/>
        <c:axId val="582933760"/>
      </c:scatterChart>
      <c:catAx>
        <c:axId val="582932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2933760"/>
        <c:crosses val="autoZero"/>
        <c:auto val="1"/>
        <c:lblAlgn val="ctr"/>
        <c:lblOffset val="100"/>
        <c:noMultiLvlLbl val="0"/>
      </c:catAx>
      <c:valAx>
        <c:axId val="582933760"/>
        <c:scaling>
          <c:orientation val="minMax"/>
        </c:scaling>
        <c:delete val="1"/>
        <c:axPos val="l"/>
        <c:numFmt formatCode="_(* #,##0_);_(* \(#,##0\);_(* &quot;-&quot;_);_(@_)" sourceLinked="1"/>
        <c:majorTickMark val="none"/>
        <c:minorTickMark val="none"/>
        <c:tickLblPos val="nextTo"/>
        <c:crossAx val="5829329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egendEntry>
        <c:idx val="9"/>
        <c:delete val="1"/>
      </c:legendEntry>
      <c:layout>
        <c:manualLayout>
          <c:xMode val="edge"/>
          <c:yMode val="edge"/>
          <c:x val="0.37778965002572401"/>
          <c:y val="0.10248811978526524"/>
          <c:w val="0.25891139901433768"/>
          <c:h val="0.750919707845588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ysClr val="windowText" lastClr="000000"/>
          </a:solidFill>
        </a:defRPr>
      </a:pPr>
      <a:endParaRPr lang="es-E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>
        <c:manualLayout>
          <c:layoutTarget val="inner"/>
          <c:xMode val="edge"/>
          <c:yMode val="edge"/>
          <c:x val="1.0694596046508024E-2"/>
          <c:y val="8.8354026701901636E-2"/>
          <c:w val="0.96125055041831797"/>
          <c:h val="0.77301023025543081"/>
        </c:manualLayout>
      </c:layout>
      <c:barChart>
        <c:barDir val="col"/>
        <c:grouping val="stacked"/>
        <c:varyColors val="0"/>
        <c:ser>
          <c:idx val="15"/>
          <c:order val="0"/>
          <c:tx>
            <c:strRef>
              <c:f>Hoja1!$C$122</c:f>
              <c:strCache>
                <c:ptCount val="1"/>
                <c:pt idx="0">
                  <c:v>LLN87 (4 pozos)</c:v>
                </c:pt>
              </c:strCache>
            </c:strRef>
          </c:tx>
          <c:spPr>
            <a:solidFill>
              <a:schemeClr val="accent4">
                <a:lumMod val="80000"/>
                <a:lumOff val="2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22:$E$122</c:f>
              <c:numCache>
                <c:formatCode>_(* #,##0_);_(* \(#,##0\);_(* "-"_);_(@_)</c:formatCode>
                <c:ptCount val="2"/>
                <c:pt idx="0">
                  <c:v>28.68824</c:v>
                </c:pt>
                <c:pt idx="1">
                  <c:v>25.8194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E15-4160-9A84-E73AE4F31CA8}"/>
            </c:ext>
          </c:extLst>
        </c:ser>
        <c:ser>
          <c:idx val="18"/>
          <c:order val="1"/>
          <c:tx>
            <c:strRef>
              <c:f>Hoja1!$C$111</c:f>
              <c:strCache>
                <c:ptCount val="1"/>
                <c:pt idx="0">
                  <c:v>Pozo Sinuano-1 A3</c:v>
                </c:pt>
              </c:strCache>
            </c:strRef>
          </c:tx>
          <c:spPr>
            <a:solidFill>
              <a:schemeClr val="accent1">
                <a:lumMod val="8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11:$E$111</c:f>
              <c:numCache>
                <c:formatCode>_(* #,##0_);_(* \(#,##0\);_(* "-"_);_(@_)</c:formatCode>
                <c:ptCount val="2"/>
                <c:pt idx="0">
                  <c:v>11.45547543</c:v>
                </c:pt>
                <c:pt idx="1">
                  <c:v>10.8717195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E15-4160-9A84-E73AE4F31CA8}"/>
            </c:ext>
          </c:extLst>
        </c:ser>
        <c:ser>
          <c:idx val="6"/>
          <c:order val="2"/>
          <c:tx>
            <c:strRef>
              <c:f>Hoja1!$C$116</c:f>
              <c:strCache>
                <c:ptCount val="1"/>
                <c:pt idx="0">
                  <c:v>Güepajé Sur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16:$E$116</c:f>
              <c:numCache>
                <c:formatCode>General</c:formatCode>
                <c:ptCount val="2"/>
                <c:pt idx="0" formatCode="_(* #,##0_);_(* \(#,##0\);_(* &quot;-&quot;_);_(@_)">
                  <c:v>11.375603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E15-4160-9A84-E73AE4F31CA8}"/>
            </c:ext>
          </c:extLst>
        </c:ser>
        <c:ser>
          <c:idx val="17"/>
          <c:order val="3"/>
          <c:tx>
            <c:strRef>
              <c:f>Hoja1!$C$110</c:f>
              <c:strCache>
                <c:ptCount val="1"/>
                <c:pt idx="0">
                  <c:v>Pozo Sabanales-1 A3</c:v>
                </c:pt>
              </c:strCache>
            </c:strRef>
          </c:tx>
          <c:spPr>
            <a:solidFill>
              <a:schemeClr val="accent6">
                <a:lumMod val="80000"/>
                <a:lumOff val="2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10:$E$110</c:f>
              <c:numCache>
                <c:formatCode>_(* #,##0_);_(* \(#,##0\);_(* "-"_);_(@_)</c:formatCode>
                <c:ptCount val="2"/>
                <c:pt idx="0">
                  <c:v>11.431751119999999</c:v>
                </c:pt>
                <c:pt idx="1">
                  <c:v>10.87469198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E15-4160-9A84-E73AE4F31CA8}"/>
            </c:ext>
          </c:extLst>
        </c:ser>
        <c:ser>
          <c:idx val="3"/>
          <c:order val="4"/>
          <c:tx>
            <c:strRef>
              <c:f>Hoja1!$C$114</c:f>
              <c:strCache>
                <c:ptCount val="1"/>
                <c:pt idx="0">
                  <c:v>Arrecife NF</c:v>
                </c:pt>
              </c:strCache>
            </c:strRef>
          </c:tx>
          <c:spPr>
            <a:solidFill>
              <a:srgbClr val="EE1678"/>
            </a:solidFill>
            <a:ln>
              <a:noFill/>
            </a:ln>
            <a:effectLst/>
          </c:spPr>
          <c:invertIfNegative val="0"/>
          <c:dLbls>
            <c:dLbl>
              <c:idx val="1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E15-4160-9A84-E73AE4F31CA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14:$E$114</c:f>
              <c:numCache>
                <c:formatCode>_(* #,##0_);_(* \(#,##0\);_(* "-"_);_(@_)</c:formatCode>
                <c:ptCount val="2"/>
                <c:pt idx="0">
                  <c:v>10.73969241</c:v>
                </c:pt>
                <c:pt idx="1">
                  <c:v>9.665723168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E15-4160-9A84-E73AE4F31CA8}"/>
            </c:ext>
          </c:extLst>
        </c:ser>
        <c:ser>
          <c:idx val="8"/>
          <c:order val="5"/>
          <c:tx>
            <c:strRef>
              <c:f>Hoja1!$C$112</c:f>
              <c:strCache>
                <c:ptCount val="1"/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12:$E$112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6-FE15-4160-9A84-E73AE4F31CA8}"/>
            </c:ext>
          </c:extLst>
        </c:ser>
        <c:ser>
          <c:idx val="1"/>
          <c:order val="6"/>
          <c:tx>
            <c:strRef>
              <c:f>Hoja1!$C$109</c:f>
              <c:strCache>
                <c:ptCount val="1"/>
                <c:pt idx="0">
                  <c:v>Apr Arrecife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09:$E$109</c:f>
              <c:numCache>
                <c:formatCode>General</c:formatCode>
                <c:ptCount val="2"/>
                <c:pt idx="0" formatCode="_(* #,##0_);_(* \(#,##0\);_(* &quot;-&quot;_);_(@_)">
                  <c:v>9.22776567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E15-4160-9A84-E73AE4F31CA8}"/>
            </c:ext>
          </c:extLst>
        </c:ser>
        <c:ser>
          <c:idx val="11"/>
          <c:order val="7"/>
          <c:tx>
            <c:strRef>
              <c:f>Hoja1!$C$120</c:f>
              <c:strCache>
                <c:ptCount val="1"/>
                <c:pt idx="0">
                  <c:v>Apr Arrecife 4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20:$E$120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8-FE15-4160-9A84-E73AE4F31CA8}"/>
            </c:ext>
          </c:extLst>
        </c:ser>
        <c:ser>
          <c:idx val="4"/>
          <c:order val="8"/>
          <c:tx>
            <c:strRef>
              <c:f>Hoja1!$C$115</c:f>
              <c:strCache>
                <c:ptCount val="1"/>
                <c:pt idx="0">
                  <c:v>Chinchorro</c:v>
                </c:pt>
              </c:strCache>
            </c:strRef>
          </c:tx>
          <c:spPr>
            <a:solidFill>
              <a:srgbClr val="6CBF4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15:$E$115</c:f>
              <c:numCache>
                <c:formatCode>_(* #,##0_);_(* \(#,##0\);_(* "-"_);_(@_)</c:formatCode>
                <c:ptCount val="2"/>
                <c:pt idx="0">
                  <c:v>9.15</c:v>
                </c:pt>
                <c:pt idx="1">
                  <c:v>9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E15-4160-9A84-E73AE4F31CA8}"/>
            </c:ext>
          </c:extLst>
        </c:ser>
        <c:ser>
          <c:idx val="19"/>
          <c:order val="9"/>
          <c:tx>
            <c:strRef>
              <c:f>Hoja1!$C$113</c:f>
              <c:strCache>
                <c:ptCount val="1"/>
                <c:pt idx="0">
                  <c:v>Pozo Yoda-1 A3</c:v>
                </c:pt>
              </c:strCache>
            </c:strRef>
          </c:tx>
          <c:spPr>
            <a:solidFill>
              <a:schemeClr val="accent2">
                <a:lumMod val="8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13:$E$113</c:f>
              <c:numCache>
                <c:formatCode>_(* #,##0_);_(* \(#,##0\);_(* "-"_);_(@_)</c:formatCode>
                <c:ptCount val="2"/>
                <c:pt idx="0">
                  <c:v>6.1216848499999994</c:v>
                </c:pt>
                <c:pt idx="1">
                  <c:v>5.509516364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E15-4160-9A84-E73AE4F31CA8}"/>
            </c:ext>
          </c:extLst>
        </c:ser>
        <c:ser>
          <c:idx val="16"/>
          <c:order val="10"/>
          <c:tx>
            <c:strRef>
              <c:f>Hoja1!$C$123</c:f>
              <c:strCache>
                <c:ptCount val="1"/>
                <c:pt idx="0">
                  <c:v>Pozo LLA124-1 A3</c:v>
                </c:pt>
              </c:strCache>
            </c:strRef>
          </c:tx>
          <c:spPr>
            <a:solidFill>
              <a:schemeClr val="accent5">
                <a:lumMod val="80000"/>
                <a:lumOff val="2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23:$E$123</c:f>
              <c:numCache>
                <c:formatCode>_(* #,##0_);_(* \(#,##0\);_(* "-"_);_(@_)</c:formatCode>
                <c:ptCount val="2"/>
                <c:pt idx="0">
                  <c:v>5.2231110000000003</c:v>
                </c:pt>
                <c:pt idx="1">
                  <c:v>4.7007999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E15-4160-9A84-E73AE4F31CA8}"/>
            </c:ext>
          </c:extLst>
        </c:ser>
        <c:ser>
          <c:idx val="2"/>
          <c:order val="11"/>
          <c:tx>
            <c:strRef>
              <c:f>Hoja1!$C$119</c:f>
              <c:strCache>
                <c:ptCount val="1"/>
                <c:pt idx="0">
                  <c:v>Bololó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  <c:extLst xmlns:c15="http://schemas.microsoft.com/office/drawing/2012/chart"/>
            </c:strRef>
          </c:cat>
          <c:val>
            <c:numRef>
              <c:f>Hoja1!$D$119:$E$119</c:f>
              <c:numCache>
                <c:formatCode>_(* #,##0_);_(* \(#,##0\);_(* "-"_);_(@_)</c:formatCode>
                <c:ptCount val="2"/>
                <c:pt idx="1">
                  <c:v>8.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E15-4160-9A84-E73AE4F31CA8}"/>
            </c:ext>
          </c:extLst>
        </c:ser>
        <c:ser>
          <c:idx val="0"/>
          <c:order val="12"/>
          <c:tx>
            <c:strRef>
              <c:f>Hoja1!$C$108</c:f>
              <c:strCache>
                <c:ptCount val="1"/>
                <c:pt idx="0">
                  <c:v>Merecumbé-2 A1</c:v>
                </c:pt>
              </c:strCache>
            </c:strRef>
          </c:tx>
          <c:spPr>
            <a:solidFill>
              <a:srgbClr val="2B388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08:$E$108</c:f>
              <c:numCache>
                <c:formatCode>_(* #,##0_);_(* \(#,##0\);_(* "-"_);_(@_)</c:formatCode>
                <c:ptCount val="2"/>
                <c:pt idx="0">
                  <c:v>3.5</c:v>
                </c:pt>
                <c:pt idx="1">
                  <c:v>3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FE15-4160-9A84-E73AE4F31CA8}"/>
            </c:ext>
          </c:extLst>
        </c:ser>
        <c:ser>
          <c:idx val="7"/>
          <c:order val="13"/>
          <c:tx>
            <c:strRef>
              <c:f>Hoja1!$C$117</c:f>
              <c:strCache>
                <c:ptCount val="1"/>
                <c:pt idx="0">
                  <c:v>Olini Norte-1 A3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17:$E$117</c:f>
              <c:numCache>
                <c:formatCode>General</c:formatCode>
                <c:ptCount val="2"/>
                <c:pt idx="0" formatCode="_(* #,##0_);_(* \(#,##0\);_(* &quot;-&quot;_);_(@_)">
                  <c:v>3.80746621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FE15-4160-9A84-E73AE4F31CA8}"/>
            </c:ext>
          </c:extLst>
        </c:ser>
        <c:ser>
          <c:idx val="9"/>
          <c:order val="14"/>
          <c:tx>
            <c:strRef>
              <c:f>Hoja1!$C$118</c:f>
              <c:strCache>
                <c:ptCount val="1"/>
                <c:pt idx="0">
                  <c:v>Pilón-1 A3</c:v>
                </c:pt>
              </c:strCache>
            </c:strRef>
          </c:tx>
          <c:spPr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18:$E$118</c:f>
              <c:numCache>
                <c:formatCode>General</c:formatCode>
                <c:ptCount val="2"/>
                <c:pt idx="0" formatCode="_(* #,##0_);_(* \(#,##0\);_(* &quot;-&quot;_);_(@_)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FE15-4160-9A84-E73AE4F31CA8}"/>
            </c:ext>
          </c:extLst>
        </c:ser>
        <c:ser>
          <c:idx val="5"/>
          <c:order val="16"/>
          <c:tx>
            <c:strRef>
              <c:f>Hoja1!$C$121</c:f>
              <c:strCache>
                <c:ptCount val="1"/>
                <c:pt idx="0">
                  <c:v>Obras civiles</c:v>
                </c:pt>
              </c:strCache>
            </c:strRef>
          </c:tx>
          <c:spPr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D$96:$E$96</c:f>
              <c:strCache>
                <c:ptCount val="2"/>
                <c:pt idx="0">
                  <c:v>Plan 21-23 Inicial</c:v>
                </c:pt>
                <c:pt idx="1">
                  <c:v>Plan 21-23</c:v>
                </c:pt>
              </c:strCache>
            </c:strRef>
          </c:cat>
          <c:val>
            <c:numRef>
              <c:f>Hoja1!$D$121:$E$121</c:f>
              <c:numCache>
                <c:formatCode>General</c:formatCode>
                <c:ptCount val="2"/>
                <c:pt idx="0" formatCode="_(* #,##0_);_(* \(#,##0\);_(* &quot;-&quot;_);_(@_)">
                  <c:v>2.53236633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FE15-4160-9A84-E73AE4F31CA8}"/>
            </c:ext>
          </c:extLst>
        </c:ser>
        <c:ser>
          <c:idx val="12"/>
          <c:order val="17"/>
          <c:tx>
            <c:strRef>
              <c:f>Hoja1!$C$124</c:f>
              <c:strCache>
                <c:ptCount val="1"/>
                <c:pt idx="0">
                  <c:v>Lower Porquero A3</c:v>
                </c:pt>
              </c:strCache>
            </c:strRef>
          </c:tx>
          <c:spPr>
            <a:solidFill>
              <a:schemeClr val="accent1">
                <a:lumMod val="80000"/>
                <a:lumOff val="2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24:$E$124</c:f>
              <c:numCache>
                <c:formatCode>_(* #,##0_);_(* \(#,##0\);_(* "-"_);_(@_)</c:formatCode>
                <c:ptCount val="2"/>
                <c:pt idx="0">
                  <c:v>1.9</c:v>
                </c:pt>
                <c:pt idx="1">
                  <c:v>1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FE15-4160-9A84-E73AE4F31CA8}"/>
            </c:ext>
          </c:extLst>
        </c:ser>
        <c:ser>
          <c:idx val="13"/>
          <c:order val="18"/>
          <c:tx>
            <c:strRef>
              <c:f>Hoja1!$C$125</c:f>
              <c:strCache>
                <c:ptCount val="1"/>
              </c:strCache>
            </c:strRef>
          </c:tx>
          <c:spPr>
            <a:solidFill>
              <a:schemeClr val="accent2">
                <a:lumMod val="80000"/>
                <a:lumOff val="2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25:$E$125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12-FE15-4160-9A84-E73AE4F31CA8}"/>
            </c:ext>
          </c:extLst>
        </c:ser>
        <c:ser>
          <c:idx val="14"/>
          <c:order val="19"/>
          <c:tx>
            <c:strRef>
              <c:f>Hoja1!$C$126</c:f>
              <c:strCache>
                <c:ptCount val="1"/>
                <c:pt idx="0">
                  <c:v>Curramba Sur-1 A3</c:v>
                </c:pt>
              </c:strCache>
            </c:strRef>
          </c:tx>
          <c:spPr>
            <a:solidFill>
              <a:schemeClr val="accent3">
                <a:lumMod val="80000"/>
                <a:lumOff val="20000"/>
              </a:schemeClr>
            </a:solidFill>
            <a:ln w="2540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Hoja1!$D$126:$E$126</c:f>
              <c:numCache>
                <c:formatCode>_(* #,##0_);_(* \(#,##0\);_(* "-"_);_(@_)</c:formatCode>
                <c:ptCount val="2"/>
                <c:pt idx="0">
                  <c:v>2.0625</c:v>
                </c:pt>
                <c:pt idx="1">
                  <c:v>1.856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FE15-4160-9A84-E73AE4F31C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70433168"/>
        <c:axId val="586059984"/>
      </c:barChart>
      <c:scatterChart>
        <c:scatterStyle val="lineMarker"/>
        <c:varyColors val="0"/>
        <c:ser>
          <c:idx val="10"/>
          <c:order val="15"/>
          <c:tx>
            <c:strRef>
              <c:f>Hoja1!$C$127</c:f>
              <c:strCache>
                <c:ptCount val="1"/>
                <c:pt idx="0">
                  <c:v>Total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yVal>
            <c:numRef>
              <c:f>Hoja1!$D$127:$E$127</c:f>
              <c:numCache>
                <c:formatCode>_(* #,##0_);_(* \(#,##0\);_(* "-"_);_(@_)</c:formatCode>
                <c:ptCount val="2"/>
                <c:pt idx="0" formatCode="0">
                  <c:v>121.21565704999999</c:v>
                </c:pt>
                <c:pt idx="1">
                  <c:v>91.878116974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14-FE15-4160-9A84-E73AE4F31C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70433168"/>
        <c:axId val="586059984"/>
      </c:scatterChart>
      <c:catAx>
        <c:axId val="570433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6059984"/>
        <c:crosses val="autoZero"/>
        <c:auto val="1"/>
        <c:lblAlgn val="ctr"/>
        <c:lblOffset val="100"/>
        <c:noMultiLvlLbl val="0"/>
      </c:catAx>
      <c:valAx>
        <c:axId val="586059984"/>
        <c:scaling>
          <c:orientation val="minMax"/>
        </c:scaling>
        <c:delete val="1"/>
        <c:axPos val="l"/>
        <c:numFmt formatCode="_(* #,##0_);_(* \(#,##0\);_(* &quot;-&quot;_);_(@_)" sourceLinked="1"/>
        <c:majorTickMark val="none"/>
        <c:minorTickMark val="none"/>
        <c:tickLblPos val="nextTo"/>
        <c:crossAx val="5704331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5"/>
        <c:delete val="1"/>
      </c:legendEntry>
      <c:legendEntry>
        <c:idx val="17"/>
        <c:delete val="1"/>
      </c:legendEntry>
      <c:legendEntry>
        <c:idx val="19"/>
        <c:delete val="1"/>
      </c:legendEntry>
      <c:layout>
        <c:manualLayout>
          <c:xMode val="edge"/>
          <c:yMode val="edge"/>
          <c:x val="0.34931699752413781"/>
          <c:y val="0.1074652585676789"/>
          <c:w val="0.28129432078046801"/>
          <c:h val="0.860282937925254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ysClr val="windowText" lastClr="000000"/>
          </a:solidFill>
        </a:defRPr>
      </a:pPr>
      <a:endParaRPr lang="es-E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Pozos Desarrollo (#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(* #,##0_);_(* \(#,##0\);_(* "-"_);_(@_)</c:formatCode>
                <c:ptCount val="4"/>
                <c:pt idx="1">
                  <c:v>21</c:v>
                </c:pt>
                <c:pt idx="2">
                  <c:v>17</c:v>
                </c:pt>
                <c:pt idx="3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91-4408-BCF6-D02A4AF828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436304"/>
        <c:axId val="570435128"/>
      </c:barChart>
      <c:catAx>
        <c:axId val="570436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70435128"/>
        <c:crosses val="autoZero"/>
        <c:auto val="1"/>
        <c:lblAlgn val="ctr"/>
        <c:lblOffset val="100"/>
        <c:noMultiLvlLbl val="0"/>
      </c:catAx>
      <c:valAx>
        <c:axId val="570435128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704363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5875">
      <a:solidFill>
        <a:srgbClr val="6CBF44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Pozos Exploración (#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9.8623413871473161E-3"/>
                  <c:y val="-1.833139674733620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5DB-4D80-9321-63C5738157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(* #,##0_);_(* \(#,##0\);_(* "-"_);_(@_)</c:formatCode>
                <c:ptCount val="4"/>
                <c:pt idx="1">
                  <c:v>3</c:v>
                </c:pt>
                <c:pt idx="2">
                  <c:v>16</c:v>
                </c:pt>
                <c:pt idx="3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DB8-4636-AA9E-DCF8EDF2136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Estrategia Gas</c:v>
                </c:pt>
              </c:strCache>
            </c:strRef>
          </c:tx>
          <c:spPr>
            <a:solidFill>
              <a:srgbClr val="3DB0AB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1.9724682774294813E-2"/>
                  <c:y val="4.621605167172835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5DB-4D80-9321-63C5738157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3:$E$3</c:f>
            </c:numRef>
          </c:val>
          <c:extLst>
            <c:ext xmlns:c16="http://schemas.microsoft.com/office/drawing/2014/chart" uri="{C3380CC4-5D6E-409C-BE32-E72D297353CC}">
              <c16:uniqueId val="{00000001-1DB8-4636-AA9E-DCF8EDF2136E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Otro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4:$E$4</c:f>
            </c:numRef>
          </c:val>
          <c:extLst>
            <c:ext xmlns:c16="http://schemas.microsoft.com/office/drawing/2014/chart" uri="{C3380CC4-5D6E-409C-BE32-E72D297353CC}">
              <c16:uniqueId val="{00000000-31F7-48F6-BD6A-A32F5B6453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16552088"/>
        <c:axId val="581862296"/>
      </c:barChart>
      <c:catAx>
        <c:axId val="416552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2296"/>
        <c:crosses val="autoZero"/>
        <c:auto val="1"/>
        <c:lblAlgn val="ctr"/>
        <c:lblOffset val="100"/>
        <c:noMultiLvlLbl val="0"/>
      </c:catAx>
      <c:valAx>
        <c:axId val="5818622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_(* #,##0_);_(* \(#,##0\);_(* &quot;-&quot;_);_(@_)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4165520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2540290641388699E-2"/>
          <c:y val="0.82950061554686128"/>
          <c:w val="0.94478176010436987"/>
          <c:h val="0.1704993844531385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5875">
      <a:solidFill>
        <a:srgbClr val="6CBF44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Total Inversión (Mus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Desarrollo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0"/>
                  <c:y val="4.625244226359671E-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E7D9-4245-8910-5DEE630ECA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-* #,##0.0_-;\-* #,##0.0_-;_-* "-"_-;_-@_-</c:formatCode>
                <c:ptCount val="4"/>
                <c:pt idx="0">
                  <c:v>79</c:v>
                </c:pt>
                <c:pt idx="1">
                  <c:v>96</c:v>
                </c:pt>
                <c:pt idx="2">
                  <c:v>67.900000000000006</c:v>
                </c:pt>
                <c:pt idx="3">
                  <c:v>11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473-4FA6-A5E1-BAA8C00FDC5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Exploració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3:$E$3</c:f>
              <c:numCache>
                <c:formatCode>_-* #,##0.0_-;\-* #,##0.0_-;_-* "-"_-;_-@_-</c:formatCode>
                <c:ptCount val="4"/>
                <c:pt idx="0">
                  <c:v>47</c:v>
                </c:pt>
                <c:pt idx="1">
                  <c:v>38</c:v>
                </c:pt>
                <c:pt idx="2">
                  <c:v>138</c:v>
                </c:pt>
                <c:pt idx="3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473-4FA6-A5E1-BAA8C00FD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1865040"/>
        <c:axId val="581864648"/>
      </c:barChart>
      <c:lineChart>
        <c:grouping val="standard"/>
        <c:varyColors val="0"/>
        <c:ser>
          <c:idx val="2"/>
          <c:order val="2"/>
          <c:tx>
            <c:strRef>
              <c:f>Hoja1!$A$4</c:f>
              <c:strCache>
                <c:ptCount val="1"/>
                <c:pt idx="0">
                  <c:v>Plan 21-23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25A9E0"/>
              </a:solidFill>
              <a:ln w="9525">
                <a:solidFill>
                  <a:srgbClr val="25A9E0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8370875806977677E-2"/>
                  <c:y val="-5.3113888360214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E7D9-4245-8910-5DEE630ECA2C}"/>
                </c:ext>
              </c:extLst>
            </c:dLbl>
            <c:dLbl>
              <c:idx val="1"/>
              <c:layout>
                <c:manualLayout>
                  <c:x val="-6.676805119098779E-2"/>
                  <c:y val="-8.18715535835089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473-4FA6-A5E1-BAA8C00FDC5E}"/>
                </c:ext>
              </c:extLst>
            </c:dLbl>
            <c:dLbl>
              <c:idx val="2"/>
              <c:layout>
                <c:manualLayout>
                  <c:x val="-8.1520664323174175E-2"/>
                  <c:y val="-4.84922831930415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7D9-4245-8910-5DEE630ECA2C}"/>
                </c:ext>
              </c:extLst>
            </c:dLbl>
            <c:dLbl>
              <c:idx val="3"/>
              <c:layout>
                <c:manualLayout>
                  <c:x val="-6.508342867792867E-2"/>
                  <c:y val="-2.53842573571769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7D9-4245-8910-5DEE630ECA2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25A9E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4:$E$4</c:f>
              <c:numCache>
                <c:formatCode>_-* #,##0.0_-;\-* #,##0.0_-;_-* "-"_-;_-@_-</c:formatCode>
                <c:ptCount val="4"/>
                <c:pt idx="0">
                  <c:v>126</c:v>
                </c:pt>
                <c:pt idx="1">
                  <c:v>134</c:v>
                </c:pt>
                <c:pt idx="2">
                  <c:v>205.9</c:v>
                </c:pt>
                <c:pt idx="3">
                  <c:v>199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73-4FA6-A5E1-BAA8C00FD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865040"/>
        <c:axId val="581864648"/>
      </c:lineChart>
      <c:catAx>
        <c:axId val="581865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4648"/>
        <c:crosses val="autoZero"/>
        <c:auto val="1"/>
        <c:lblAlgn val="ctr"/>
        <c:lblOffset val="100"/>
        <c:noMultiLvlLbl val="0"/>
      </c:catAx>
      <c:valAx>
        <c:axId val="581864648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5040"/>
        <c:crosses val="autoZero"/>
        <c:crossBetween val="between"/>
      </c:valAx>
      <c:spPr>
        <a:noFill/>
        <a:ln w="0">
          <a:solidFill>
            <a:schemeClr val="bg1"/>
          </a:solidFill>
        </a:ln>
        <a:effectLst/>
      </c:spPr>
    </c:plotArea>
    <c:legend>
      <c:legendPos val="b"/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25A9E0"/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9050">
      <a:solidFill>
        <a:srgbClr val="6CBF44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Total Exploración (Mus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0"/>
                  <c:y val="4.625244226359671E-4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5E1-490D-AE1B-5F432290C0F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-* #,##0.0_-;\-* #,##0.0_-;_-* "-"_-;_-@_-</c:formatCode>
                <c:ptCount val="4"/>
                <c:pt idx="0">
                  <c:v>47</c:v>
                </c:pt>
                <c:pt idx="1">
                  <c:v>38</c:v>
                </c:pt>
                <c:pt idx="2">
                  <c:v>138</c:v>
                </c:pt>
                <c:pt idx="3">
                  <c:v>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5E1-490D-AE1B-5F432290C0FF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Gas</c:v>
                </c:pt>
              </c:strCache>
            </c:strRef>
          </c:tx>
          <c:spPr>
            <a:solidFill>
              <a:srgbClr val="3DB0A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3:$E$3</c:f>
            </c:numRef>
          </c:val>
          <c:extLst>
            <c:ext xmlns:c16="http://schemas.microsoft.com/office/drawing/2014/chart" uri="{C3380CC4-5D6E-409C-BE32-E72D297353CC}">
              <c16:uniqueId val="{00000002-35E1-490D-AE1B-5F432290C0FF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Otros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4:$E$4</c:f>
            </c:numRef>
          </c:val>
          <c:extLst>
            <c:ext xmlns:c16="http://schemas.microsoft.com/office/drawing/2014/chart" uri="{C3380CC4-5D6E-409C-BE32-E72D297353CC}">
              <c16:uniqueId val="{00000003-35E1-490D-AE1B-5F432290C0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1862688"/>
        <c:axId val="581861512"/>
      </c:barChart>
      <c:lineChart>
        <c:grouping val="standard"/>
        <c:varyColors val="0"/>
        <c:ser>
          <c:idx val="5"/>
          <c:order val="3"/>
          <c:tx>
            <c:strRef>
              <c:f>Hoja1!$A$5</c:f>
              <c:strCache>
                <c:ptCount val="1"/>
                <c:pt idx="0">
                  <c:v>Plan 21-23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00B0F0"/>
              </a:solidFill>
              <a:ln w="9525">
                <a:solidFill>
                  <a:srgbClr val="00B0F0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rgbClr val="00B0F0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5:$E$5</c:f>
            </c:numRef>
          </c:val>
          <c:smooth val="0"/>
          <c:extLst>
            <c:ext xmlns:c16="http://schemas.microsoft.com/office/drawing/2014/chart" uri="{C3380CC4-5D6E-409C-BE32-E72D297353CC}">
              <c16:uniqueId val="{00000004-35E1-490D-AE1B-5F432290C0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862688"/>
        <c:axId val="581861512"/>
      </c:lineChart>
      <c:catAx>
        <c:axId val="581862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1512"/>
        <c:crosses val="autoZero"/>
        <c:auto val="1"/>
        <c:lblAlgn val="ctr"/>
        <c:lblOffset val="100"/>
        <c:noMultiLvlLbl val="0"/>
      </c:catAx>
      <c:valAx>
        <c:axId val="581861512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2688"/>
        <c:crosses val="autoZero"/>
        <c:crossBetween val="between"/>
      </c:valAx>
      <c:spPr>
        <a:noFill/>
        <a:ln w="0">
          <a:solidFill>
            <a:schemeClr val="bg1"/>
          </a:solidFill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 algn="just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</c:legendEntry>
      <c:layout>
        <c:manualLayout>
          <c:xMode val="edge"/>
          <c:yMode val="edge"/>
          <c:x val="7.434082802250995E-2"/>
          <c:y val="0.79005030271513843"/>
          <c:w val="0.88419255639136674"/>
          <c:h val="0.182220066281824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9050">
      <a:solidFill>
        <a:srgbClr val="3DB0AB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EBITDA (%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0%</c:formatCode>
                <c:ptCount val="4"/>
                <c:pt idx="0">
                  <c:v>0.4919802793972114</c:v>
                </c:pt>
                <c:pt idx="1">
                  <c:v>0.42616249935882072</c:v>
                </c:pt>
                <c:pt idx="2">
                  <c:v>0.32189222168073001</c:v>
                </c:pt>
                <c:pt idx="3">
                  <c:v>0.417797834250367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87-4CF1-BAD5-13370D7372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1861904"/>
        <c:axId val="581865824"/>
      </c:barChart>
      <c:lineChart>
        <c:grouping val="standard"/>
        <c:varyColors val="0"/>
        <c:ser>
          <c:idx val="1"/>
          <c:order val="1"/>
          <c:tx>
            <c:strRef>
              <c:f>Hoja1!$A$3</c:f>
              <c:strCache>
                <c:ptCount val="1"/>
                <c:pt idx="0">
                  <c:v>RS</c:v>
                </c:pt>
              </c:strCache>
            </c:strRef>
          </c:tx>
          <c:spPr>
            <a:ln w="28575" cap="rnd">
              <a:solidFill>
                <a:srgbClr val="2B388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B388F"/>
              </a:solidFill>
              <a:ln w="9525">
                <a:solidFill>
                  <a:srgbClr val="2B388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2B388F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3:$E$3</c:f>
            </c:numRef>
          </c:val>
          <c:smooth val="0"/>
          <c:extLst>
            <c:ext xmlns:c16="http://schemas.microsoft.com/office/drawing/2014/chart" uri="{C3380CC4-5D6E-409C-BE32-E72D297353CC}">
              <c16:uniqueId val="{00000001-EF87-4CF1-BAD5-13370D7372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861904"/>
        <c:axId val="581865824"/>
      </c:lineChart>
      <c:catAx>
        <c:axId val="581861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5824"/>
        <c:crosses val="autoZero"/>
        <c:auto val="1"/>
        <c:lblAlgn val="ctr"/>
        <c:lblOffset val="100"/>
        <c:noMultiLvlLbl val="0"/>
      </c:catAx>
      <c:valAx>
        <c:axId val="581865824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19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5875">
      <a:solidFill>
        <a:srgbClr val="6CBF44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CO" dirty="0"/>
              <a:t>ROACE (%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0.0%</c:formatCode>
                <c:ptCount val="4"/>
                <c:pt idx="0">
                  <c:v>7.2071325021443366E-2</c:v>
                </c:pt>
                <c:pt idx="1">
                  <c:v>6.7688117286349214E-2</c:v>
                </c:pt>
                <c:pt idx="2">
                  <c:v>3.7794171288714699E-2</c:v>
                </c:pt>
                <c:pt idx="3">
                  <c:v>7.875895063076533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87-4CF1-BAD5-13370D7372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1867392"/>
        <c:axId val="581866608"/>
      </c:barChart>
      <c:lineChart>
        <c:grouping val="standard"/>
        <c:varyColors val="0"/>
        <c:ser>
          <c:idx val="1"/>
          <c:order val="1"/>
          <c:tx>
            <c:strRef>
              <c:f>Hoja1!$A$3</c:f>
              <c:strCache>
                <c:ptCount val="1"/>
                <c:pt idx="0">
                  <c:v>RS</c:v>
                </c:pt>
              </c:strCache>
            </c:strRef>
          </c:tx>
          <c:spPr>
            <a:ln w="28575" cap="rnd">
              <a:solidFill>
                <a:srgbClr val="2B388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B388F"/>
              </a:solidFill>
              <a:ln w="9525">
                <a:solidFill>
                  <a:srgbClr val="2B388F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7294042731635598E-2"/>
                  <c:y val="-0.1077063264680056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885-4AE8-A9B4-1E96CC5B48B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2B388F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3:$E$3</c:f>
            </c:numRef>
          </c:val>
          <c:smooth val="0"/>
          <c:extLst>
            <c:ext xmlns:c16="http://schemas.microsoft.com/office/drawing/2014/chart" uri="{C3380CC4-5D6E-409C-BE32-E72D297353CC}">
              <c16:uniqueId val="{00000001-EF87-4CF1-BAD5-13370D7372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867392"/>
        <c:axId val="581866608"/>
      </c:lineChart>
      <c:catAx>
        <c:axId val="5818673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6608"/>
        <c:crosses val="autoZero"/>
        <c:auto val="1"/>
        <c:lblAlgn val="ctr"/>
        <c:lblOffset val="100"/>
        <c:noMultiLvlLbl val="0"/>
      </c:catAx>
      <c:valAx>
        <c:axId val="581866608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s-ES"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73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5875">
      <a:solidFill>
        <a:srgbClr val="6CBF44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s-CO" sz="1862" b="0" i="0" u="none" strike="noStrike" kern="1200" spc="0" baseline="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s-CO" sz="1862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Ingresos (</a:t>
            </a:r>
            <a:r>
              <a:rPr lang="es-CO" sz="1862" b="0" i="0" u="none" strike="noStrike" kern="1200" spc="0" baseline="0" dirty="0" err="1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Musd</a:t>
            </a:r>
            <a:r>
              <a:rPr lang="es-CO" sz="1862" b="0" i="0" u="none" strike="noStrike" kern="1200" spc="0" baseline="0" dirty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rPr>
              <a:t>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s-CO" sz="1862" b="0" i="0" u="none" strike="noStrike" kern="1200" spc="0" baseline="0" dirty="0" smtClean="0">
              <a:solidFill>
                <a:prstClr val="black">
                  <a:lumMod val="65000"/>
                  <a:lumOff val="35000"/>
                </a:prstClr>
              </a:solidFill>
              <a:latin typeface="+mn-lt"/>
              <a:ea typeface="+mn-ea"/>
              <a:cs typeface="+mn-cs"/>
            </a:defRPr>
          </a:pPr>
          <a:endParaRPr lang="es-E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Plan 21-23</c:v>
                </c:pt>
              </c:strCache>
            </c:strRef>
          </c:tx>
          <c:spPr>
            <a:solidFill>
              <a:srgbClr val="25A9E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2:$E$2</c:f>
              <c:numCache>
                <c:formatCode>_-* #,##0.0_-;\-* #,##0.0_-;_-* "-"_-;_-@_-</c:formatCode>
                <c:ptCount val="4"/>
                <c:pt idx="0">
                  <c:v>457.5324834045478</c:v>
                </c:pt>
                <c:pt idx="1">
                  <c:v>465.77138847795766</c:v>
                </c:pt>
                <c:pt idx="2">
                  <c:v>477.54645691716479</c:v>
                </c:pt>
                <c:pt idx="3">
                  <c:v>483.59011111996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16C-4A4C-BD36-AA341B231D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81868568"/>
        <c:axId val="581868176"/>
      </c:barChart>
      <c:lineChart>
        <c:grouping val="standard"/>
        <c:varyColors val="0"/>
        <c:ser>
          <c:idx val="1"/>
          <c:order val="1"/>
          <c:tx>
            <c:strRef>
              <c:f>Hoja1!$A$3</c:f>
              <c:strCache>
                <c:ptCount val="1"/>
                <c:pt idx="0">
                  <c:v>RS</c:v>
                </c:pt>
              </c:strCache>
            </c:strRef>
          </c:tx>
          <c:spPr>
            <a:ln w="28575" cap="rnd">
              <a:solidFill>
                <a:srgbClr val="2B388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2B388F"/>
              </a:solidFill>
              <a:ln w="9525">
                <a:solidFill>
                  <a:srgbClr val="2B388F"/>
                </a:solidFill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2B388F"/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E$1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strCache>
            </c:strRef>
          </c:cat>
          <c:val>
            <c:numRef>
              <c:f>Hoja1!$B$3:$E$3</c:f>
            </c:numRef>
          </c:val>
          <c:smooth val="0"/>
          <c:extLst>
            <c:ext xmlns:c16="http://schemas.microsoft.com/office/drawing/2014/chart" uri="{C3380CC4-5D6E-409C-BE32-E72D297353CC}">
              <c16:uniqueId val="{00000001-616C-4A4C-BD36-AA341B231D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81868568"/>
        <c:axId val="581868176"/>
      </c:lineChart>
      <c:catAx>
        <c:axId val="5818685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8176"/>
        <c:crosses val="autoZero"/>
        <c:auto val="1"/>
        <c:lblAlgn val="ctr"/>
        <c:lblOffset val="100"/>
        <c:noMultiLvlLbl val="0"/>
      </c:catAx>
      <c:valAx>
        <c:axId val="58186817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bg1">
                  <a:lumMod val="85000"/>
                </a:schemeClr>
              </a:solidFill>
              <a:prstDash val="sysDot"/>
              <a:round/>
            </a:ln>
            <a:effectLst/>
          </c:spPr>
        </c:majorGridlines>
        <c:numFmt formatCode="_-* #,##0.0_-;\-* #,##0.0_-;_-* &quot;-&quot;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5818685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E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19050">
      <a:solidFill>
        <a:srgbClr val="3DB0AB"/>
      </a:solidFill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93004</cdr:y>
    </cdr:from>
    <cdr:to>
      <cdr:x>0.98776</cdr:x>
      <cdr:y>1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0" y="5637901"/>
          <a:ext cx="14118001" cy="42408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600" b="1" dirty="0"/>
            <a:t>              </a:t>
          </a:r>
          <a:r>
            <a:rPr lang="es-ES" sz="1600" b="1" baseline="0" dirty="0"/>
            <a:t> </a:t>
          </a:r>
          <a:r>
            <a:rPr lang="es-ES" sz="1600" b="1" dirty="0"/>
            <a:t>2021                               2022                              2023                             2024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5941</cdr:x>
      <cdr:y>0.92018</cdr:y>
    </cdr:from>
    <cdr:to>
      <cdr:x>1</cdr:x>
      <cdr:y>1</cdr:y>
    </cdr:to>
    <cdr:sp macro="" textlink="">
      <cdr:nvSpPr>
        <cdr:cNvPr id="12" name="TextBox 1"/>
        <cdr:cNvSpPr txBox="1"/>
      </cdr:nvSpPr>
      <cdr:spPr>
        <a:xfrm xmlns:a="http://schemas.openxmlformats.org/drawingml/2006/main">
          <a:off x="977235" y="2831283"/>
          <a:ext cx="5153089" cy="2455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900" b="1" dirty="0"/>
            <a:t>                                      2021                                        2022                                          2023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E9B9BC-03DB-9549-8694-7DDD3F043C8C}" type="datetimeFigureOut">
              <a:rPr lang="es-ES_tradnl" smtClean="0"/>
              <a:t>13/12/2021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3CD72B-8B67-F24B-B04F-BEFA762DCF00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2999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3CD72B-8B67-F24B-B04F-BEFA762DCF00}" type="slidenum">
              <a:rPr lang="es-ES_tradnl" smtClean="0">
                <a:solidFill>
                  <a:prstClr val="black"/>
                </a:solidFill>
              </a:rPr>
              <a:pPr/>
              <a:t>3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4703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43CD72B-8B67-F24B-B04F-BEFA762DCF00}" type="slidenum">
              <a:rPr lang="es-ES_tradnl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3144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63503">
              <a:defRPr/>
            </a:pPr>
            <a:fld id="{343CD72B-8B67-F24B-B04F-BEFA762DCF00}" type="slidenum">
              <a:rPr lang="es-ES_tradnl">
                <a:solidFill>
                  <a:prstClr val="black"/>
                </a:solidFill>
              </a:rPr>
              <a:pPr defTabSz="963503">
                <a:defRPr/>
              </a:pPr>
              <a:t>5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0356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uarrojo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Comprende la perforación de 38 pozos (28 pozos en el 2021; 10 pozos en el 2022), así mismo incluye la ampliación de facilidades para manejo de agua a 280, 300 y 360k los cuales se ejecutarán gradualmente a medida que avance la campaña de perforación. Costo promedio por pozo 1,8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pinal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Consiste en la perforación de 10 pozos (4 pozos en el 2022 y 5 pozos en el 2023 y 1 pozos en el 2024). Costo promedio por pozo 7,2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recife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Desarrollo temprano del campo consistente en ampliación de EPF, Línea de conexión a Jobo, línea de flujo a pozos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aisal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 prueba extensa. (4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 2021 y 16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 2022)</a:t>
            </a: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cuco</a:t>
            </a:r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foración de 5 pozos (2 pozos en el 2022 y 3 en el 2023). Costo promedio por pozo 9,7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incluye venta de gas y se estiman regalías del 8% de acuerdo a solicitud de PPI en ANH.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mey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Perforación del pozo Mamey-3 en el 2021, el cual está en evaluación. Costo pozo 13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Cañada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Perforación de 4 pozos en el 2022. Costo promedio por pozo 3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</a:t>
            </a:r>
            <a:r>
              <a:rPr lang="es-CO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cha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Perforación de 4 pozos en el 2023. Costo promedio por pozo 3,8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3CD72B-8B67-F24B-B04F-BEFA762DCF00}" type="slidenum">
              <a:rPr lang="es-ES_tradnl" smtClean="0">
                <a:solidFill>
                  <a:prstClr val="black"/>
                </a:solidFill>
              </a:rPr>
              <a:pPr/>
              <a:t>8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3868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O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uarrojo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Comprende la perforación de 38 pozos (28 pozos en el 2021; 10 pozos en el 2022), así mismo incluye la ampliación de facilidades para manejo de agua a 280, 300 y 360k los cuales se ejecutarán gradualmente a medida que avance la campaña de perforación. Costo promedio por pozo 1,8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pinal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Consiste en la perforación de 10 pozos (4 pozos en el 2022 y 5 pozos en el 2023 y 1 pozos en el 2024). Costo promedio por pozo 7,2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rrecife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Desarrollo temprano del campo consistente en ampliación de EPF, Línea de conexión a Jobo, línea de flujo a pozos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ppraisal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y prueba extensa. (4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 2021 y 16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n 2022)</a:t>
            </a: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icuco</a:t>
            </a:r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erforación de 5 pozos (2 pozos en el 2022 y 3 en el 2023). Costo promedio por pozo 9,7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incluye venta de gas y se estiman regalías del 8% de acuerdo a solicitud de PPI en ANH.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amey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Perforación del pozo Mamey-3 en el 2021, el cual está en evaluación. Costo pozo 13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Cañada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Perforación de 4 pozos en el 2022. Costo promedio por pozo 3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s-CO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 </a:t>
            </a:r>
            <a:r>
              <a:rPr lang="es-CO" sz="1200" b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ocha</a:t>
            </a:r>
            <a:r>
              <a:rPr lang="es-C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: Perforación de 4 pozos en el 2023. Costo promedio por pozo 3,8 </a:t>
            </a:r>
            <a:r>
              <a:rPr lang="es-CO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usd</a:t>
            </a:r>
            <a:endParaRPr lang="es-C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3CD72B-8B67-F24B-B04F-BEFA762DCF00}" type="slidenum">
              <a:rPr lang="es-ES_tradnl" smtClean="0">
                <a:solidFill>
                  <a:prstClr val="black"/>
                </a:solidFill>
              </a:rPr>
              <a:pPr/>
              <a:t>9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4488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CADBA9-D7DC-42B5-ADE6-B55481E418E3}" type="slidenum">
              <a:rPr lang="es-CO" smtClean="0"/>
              <a:t>12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789135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CADBA9-D7DC-42B5-ADE6-B55481E418E3}" type="slidenum">
              <a:rPr lang="es-CO" smtClean="0"/>
              <a:t>13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0179895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0.xml"/><Relationship Id="rId7" Type="http://schemas.openxmlformats.org/officeDocument/2006/relationships/image" Target="../media/image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5.xml"/><Relationship Id="rId7" Type="http://schemas.openxmlformats.org/officeDocument/2006/relationships/image" Target="../media/image10.jpg"/><Relationship Id="rId2" Type="http://schemas.openxmlformats.org/officeDocument/2006/relationships/tags" Target="../tags/tag5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7.xml"/><Relationship Id="rId7" Type="http://schemas.openxmlformats.org/officeDocument/2006/relationships/image" Target="../media/image11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8.xml"/><Relationship Id="rId7" Type="http://schemas.openxmlformats.org/officeDocument/2006/relationships/image" Target="../media/image13.jpeg"/><Relationship Id="rId2" Type="http://schemas.openxmlformats.org/officeDocument/2006/relationships/tags" Target="../tags/tag7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0.xml"/><Relationship Id="rId7" Type="http://schemas.openxmlformats.org/officeDocument/2006/relationships/image" Target="../media/image6.jpg"/><Relationship Id="rId2" Type="http://schemas.openxmlformats.org/officeDocument/2006/relationships/tags" Target="../tags/tag7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2.xml"/><Relationship Id="rId7" Type="http://schemas.openxmlformats.org/officeDocument/2006/relationships/image" Target="../media/image2.png"/><Relationship Id="rId2" Type="http://schemas.openxmlformats.org/officeDocument/2006/relationships/tags" Target="../tags/tag8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4.xml"/><Relationship Id="rId7" Type="http://schemas.openxmlformats.org/officeDocument/2006/relationships/image" Target="../media/image10.jpg"/><Relationship Id="rId2" Type="http://schemas.openxmlformats.org/officeDocument/2006/relationships/tags" Target="../tags/tag8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86.xml"/><Relationship Id="rId7" Type="http://schemas.openxmlformats.org/officeDocument/2006/relationships/image" Target="../media/image11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2.xml"/><Relationship Id="rId7" Type="http://schemas.openxmlformats.org/officeDocument/2006/relationships/image" Target="../media/image6.jpg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4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6.xml"/><Relationship Id="rId7" Type="http://schemas.openxmlformats.org/officeDocument/2006/relationships/image" Target="../media/image10.jpg"/><Relationship Id="rId2" Type="http://schemas.openxmlformats.org/officeDocument/2006/relationships/tags" Target="../tags/tag2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107.xml"/><Relationship Id="rId7" Type="http://schemas.openxmlformats.org/officeDocument/2006/relationships/image" Target="../media/image16.jpeg"/><Relationship Id="rId2" Type="http://schemas.openxmlformats.org/officeDocument/2006/relationships/tags" Target="../tags/tag10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8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09.xml"/><Relationship Id="rId7" Type="http://schemas.openxmlformats.org/officeDocument/2006/relationships/image" Target="../media/image19.jpeg"/><Relationship Id="rId2" Type="http://schemas.openxmlformats.org/officeDocument/2006/relationships/tags" Target="../tags/tag10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tags" Target="../tags/tag111.xml"/><Relationship Id="rId7" Type="http://schemas.openxmlformats.org/officeDocument/2006/relationships/image" Target="../media/image20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28.xml"/><Relationship Id="rId7" Type="http://schemas.openxmlformats.org/officeDocument/2006/relationships/image" Target="../media/image11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2.pn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13.xml"/><Relationship Id="rId7" Type="http://schemas.openxmlformats.org/officeDocument/2006/relationships/image" Target="../media/image22.jpeg"/><Relationship Id="rId2" Type="http://schemas.openxmlformats.org/officeDocument/2006/relationships/tags" Target="../tags/tag11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5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15.xml"/><Relationship Id="rId7" Type="http://schemas.openxmlformats.org/officeDocument/2006/relationships/image" Target="../media/image11.jpeg"/><Relationship Id="rId2" Type="http://schemas.openxmlformats.org/officeDocument/2006/relationships/tags" Target="../tags/tag11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5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9.xml"/><Relationship Id="rId7" Type="http://schemas.openxmlformats.org/officeDocument/2006/relationships/image" Target="../media/image13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1.xml"/><Relationship Id="rId7" Type="http://schemas.openxmlformats.org/officeDocument/2006/relationships/image" Target="../media/image6.jpg"/><Relationship Id="rId2" Type="http://schemas.openxmlformats.org/officeDocument/2006/relationships/tags" Target="../tags/tag5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3.xml"/><Relationship Id="rId7" Type="http://schemas.openxmlformats.org/officeDocument/2006/relationships/image" Target="../media/image2.png"/><Relationship Id="rId2" Type="http://schemas.openxmlformats.org/officeDocument/2006/relationships/tags" Target="../tags/tag5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1E95CD-7F1B-460F-A922-F9A1C25EDF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3838E00-DEAD-47D9-A197-153B793C6370}"/>
              </a:ext>
            </a:extLst>
          </p:cNvPr>
          <p:cNvGrpSpPr/>
          <p:nvPr userDrawn="1"/>
        </p:nvGrpSpPr>
        <p:grpSpPr>
          <a:xfrm>
            <a:off x="0" y="0"/>
            <a:ext cx="12196321" cy="3425760"/>
            <a:chOff x="0" y="3579495"/>
            <a:chExt cx="11953348" cy="33575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EC99574-1D15-43F4-BF68-911A6CCD7676}"/>
                </a:ext>
              </a:extLst>
            </p:cNvPr>
            <p:cNvGrpSpPr/>
            <p:nvPr/>
          </p:nvGrpSpPr>
          <p:grpSpPr>
            <a:xfrm>
              <a:off x="0" y="3579495"/>
              <a:ext cx="11953348" cy="3357562"/>
              <a:chOff x="0" y="3579495"/>
              <a:chExt cx="11953348" cy="3357562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4A9F2F89-36E3-436B-A1B5-B479ADB40645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0" y="3579495"/>
                <a:ext cx="11949114" cy="3357562"/>
              </a:xfrm>
              <a:prstGeom prst="rect">
                <a:avLst/>
              </a:prstGeom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FB48EF2-36A8-4F5E-A3CF-F631A308A459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4234" y="3579495"/>
                <a:ext cx="11949114" cy="3357562"/>
              </a:xfrm>
              <a:prstGeom prst="rect">
                <a:avLst/>
              </a:prstGeom>
              <a:solidFill>
                <a:srgbClr val="5DD7D6">
                  <a:alpha val="2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s-CO" sz="1837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C39C8AE-15E5-492B-8C5A-5443426A3018}"/>
                </a:ext>
              </a:extLst>
            </p:cNvPr>
            <p:cNvSpPr>
              <a:spLocks/>
            </p:cNvSpPr>
            <p:nvPr/>
          </p:nvSpPr>
          <p:spPr>
            <a:xfrm flipH="1">
              <a:off x="0" y="3579495"/>
              <a:ext cx="11949114" cy="3357562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alpha val="40000"/>
                  </a:schemeClr>
                </a:gs>
                <a:gs pos="70000">
                  <a:schemeClr val="accent4">
                    <a:alpha val="40000"/>
                  </a:schemeClr>
                </a:gs>
                <a:gs pos="30000">
                  <a:schemeClr val="accent2">
                    <a:alpha val="40000"/>
                  </a:schemeClr>
                </a:gs>
                <a:gs pos="100000">
                  <a:schemeClr val="accent5"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O" sz="1837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6577" y="3789610"/>
            <a:ext cx="7611527" cy="6704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357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es-ES_tradn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6577" y="5498890"/>
            <a:ext cx="7611527" cy="2826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37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es-ES_tradn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6577" y="5879305"/>
            <a:ext cx="761152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_tradnl" sz="1837" baseline="0" noProof="0" dirty="0" err="1">
                <a:solidFill>
                  <a:schemeClr val="accent6"/>
                </a:solidFill>
                <a:latin typeface="+mn-lt"/>
              </a:rPr>
              <a:t>Document</a:t>
            </a:r>
            <a:r>
              <a:rPr lang="es-ES_tradnl" sz="1837" baseline="0" noProof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es-ES_tradnl" sz="1837" baseline="0" noProof="0" dirty="0" err="1">
                <a:solidFill>
                  <a:schemeClr val="accent6"/>
                </a:solidFill>
                <a:latin typeface="+mn-lt"/>
              </a:rPr>
              <a:t>type</a:t>
            </a:r>
            <a:r>
              <a:rPr lang="es-ES_tradnl" sz="1837" baseline="0" noProof="0" dirty="0">
                <a:solidFill>
                  <a:schemeClr val="accent6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336577" y="6461667"/>
            <a:ext cx="7611527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21171" eaLnBrk="0" hangingPunct="0"/>
            <a:r>
              <a:rPr lang="en-GB" sz="816" kern="1200" baseline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CONFIDENTIAL AND PROPRIETARY</a:t>
            </a:r>
          </a:p>
          <a:p>
            <a:pPr defTabSz="821171" eaLnBrk="0" hangingPunct="0"/>
            <a:r>
              <a:rPr lang="en-GB" sz="816" kern="1200" baseline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Any use of this material without specific permission is strictly prohibited</a:t>
            </a:r>
            <a:endParaRPr lang="es-ES_tradnl" sz="816" kern="1200" baseline="0" dirty="0">
              <a:solidFill>
                <a:schemeClr val="accent6"/>
              </a:solidFill>
              <a:latin typeface="Arial" charset="0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7958FED-D7D9-4230-849C-EE8D3A4FD989}"/>
              </a:ext>
            </a:extLst>
          </p:cNvPr>
          <p:cNvGrpSpPr/>
          <p:nvPr userDrawn="1"/>
        </p:nvGrpSpPr>
        <p:grpSpPr>
          <a:xfrm>
            <a:off x="10026655" y="3894059"/>
            <a:ext cx="1441995" cy="2365494"/>
            <a:chOff x="11280404" y="5712815"/>
            <a:chExt cx="401267" cy="65825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C742F5C-8164-4A55-B97F-16D441164E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12" t="7740" r="15512" b="27025"/>
            <a:stretch/>
          </p:blipFill>
          <p:spPr>
            <a:xfrm>
              <a:off x="11283430" y="5712815"/>
              <a:ext cx="395214" cy="501077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265E464-4F5C-4749-8BD7-E928C1BE819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01" t="73849" r="15188" b="8200"/>
            <a:stretch/>
          </p:blipFill>
          <p:spPr>
            <a:xfrm>
              <a:off x="11280404" y="6230739"/>
              <a:ext cx="401267" cy="140334"/>
            </a:xfrm>
            <a:prstGeom prst="rect">
              <a:avLst/>
            </a:prstGeom>
          </p:spPr>
        </p:pic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A277DE5B-5AB5-495F-A452-B279CDB70B70}"/>
              </a:ext>
            </a:extLst>
          </p:cNvPr>
          <p:cNvSpPr/>
          <p:nvPr userDrawn="1"/>
        </p:nvSpPr>
        <p:spPr>
          <a:xfrm>
            <a:off x="7127101" y="2479168"/>
            <a:ext cx="1414912" cy="1414891"/>
          </a:xfrm>
          <a:prstGeom prst="ellipse">
            <a:avLst/>
          </a:prstGeom>
          <a:solidFill>
            <a:schemeClr val="bg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AC5C1E1-B67B-45E5-BC69-314D26E5BF7E}"/>
              </a:ext>
            </a:extLst>
          </p:cNvPr>
          <p:cNvSpPr/>
          <p:nvPr/>
        </p:nvSpPr>
        <p:spPr>
          <a:xfrm rot="17770329" flipV="1">
            <a:off x="8758921" y="-173963"/>
            <a:ext cx="3889938" cy="3196538"/>
          </a:xfrm>
          <a:custGeom>
            <a:avLst/>
            <a:gdLst>
              <a:gd name="connsiteX0" fmla="*/ 3812499 w 3812499"/>
              <a:gd name="connsiteY0" fmla="*/ 878189 h 3132857"/>
              <a:gd name="connsiteX1" fmla="*/ 2025589 w 3812499"/>
              <a:gd name="connsiteY1" fmla="*/ 0 h 3132857"/>
              <a:gd name="connsiteX2" fmla="*/ 1993261 w 3812499"/>
              <a:gd name="connsiteY2" fmla="*/ 10638 h 3132857"/>
              <a:gd name="connsiteX3" fmla="*/ 234575 w 3812499"/>
              <a:gd name="connsiteY3" fmla="*/ 1426719 h 3132857"/>
              <a:gd name="connsiteX4" fmla="*/ 1589655 w 3812499"/>
              <a:gd name="connsiteY4" fmla="*/ 2931957 h 3132857"/>
              <a:gd name="connsiteX5" fmla="*/ 2842333 w 3812499"/>
              <a:gd name="connsiteY5" fmla="*/ 2541612 h 3132857"/>
              <a:gd name="connsiteX6" fmla="*/ 2991611 w 3812499"/>
              <a:gd name="connsiteY6" fmla="*/ 2548503 h 3132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2499" h="3132857">
                <a:moveTo>
                  <a:pt x="3812499" y="878189"/>
                </a:moveTo>
                <a:lnTo>
                  <a:pt x="2025589" y="0"/>
                </a:lnTo>
                <a:lnTo>
                  <a:pt x="1993261" y="10638"/>
                </a:lnTo>
                <a:cubicBezTo>
                  <a:pt x="873407" y="441623"/>
                  <a:pt x="248591" y="1357700"/>
                  <a:pt x="234575" y="1426719"/>
                </a:cubicBezTo>
                <a:cubicBezTo>
                  <a:pt x="-447389" y="2656469"/>
                  <a:pt x="465384" y="3549752"/>
                  <a:pt x="1589655" y="2931957"/>
                </a:cubicBezTo>
                <a:cubicBezTo>
                  <a:pt x="2012929" y="2661025"/>
                  <a:pt x="2441230" y="2542576"/>
                  <a:pt x="2842333" y="2541612"/>
                </a:cubicBezTo>
                <a:lnTo>
                  <a:pt x="2991611" y="254850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1CC8FB-0EEB-4D50-9F4A-48B564C71CFE}"/>
              </a:ext>
            </a:extLst>
          </p:cNvPr>
          <p:cNvSpPr/>
          <p:nvPr userDrawn="1"/>
        </p:nvSpPr>
        <p:spPr>
          <a:xfrm>
            <a:off x="0" y="3224410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A7C592-2A50-4F4A-B195-439BF2CBD4F8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GB" sz="816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35907493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E421E6-BDBD-4E39-A4DE-2A8B36A47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9" name="Imagen 7">
            <a:extLst>
              <a:ext uri="{FF2B5EF4-FFF2-40B4-BE49-F238E27FC236}">
                <a16:creationId xmlns:a16="http://schemas.microsoft.com/office/drawing/2014/main" id="{3BFC951E-EA07-4934-A316-6973C8EC9C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1" b="15"/>
          <a:stretch/>
        </p:blipFill>
        <p:spPr>
          <a:xfrm>
            <a:off x="0" y="0"/>
            <a:ext cx="12193929" cy="6857999"/>
          </a:xfrm>
          <a:prstGeom prst="rect">
            <a:avLst/>
          </a:prstGeom>
        </p:spPr>
      </p:pic>
      <p:pic>
        <p:nvPicPr>
          <p:cNvPr id="27" name="Imagen 13">
            <a:extLst>
              <a:ext uri="{FF2B5EF4-FFF2-40B4-BE49-F238E27FC236}">
                <a16:creationId xmlns:a16="http://schemas.microsoft.com/office/drawing/2014/main" id="{734F29AA-6918-435C-9E75-8EDC278CF38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5091" y="5937838"/>
            <a:ext cx="397052" cy="577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es-ES_tradn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D8D00F-BC77-48BF-B2D2-ADD0AB2030A6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573364A-8D1D-469F-8B23-75FBE4494DF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FAE5904-BE90-4A25-A015-FF10101C7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5" t="1207" r="17090" b="43908"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118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E421E6-BDBD-4E39-A4DE-2A8B36A47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E74F18-DDFD-4357-8857-563D0CEFC6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-1"/>
            <a:ext cx="12192003" cy="68580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D47A856-D863-4DC4-B44E-5193C8D3397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>
            <a:gsLst>
              <a:gs pos="17000">
                <a:schemeClr val="accent4">
                  <a:alpha val="90000"/>
                </a:schemeClr>
              </a:gs>
              <a:gs pos="100000">
                <a:schemeClr val="accent3"/>
              </a:gs>
            </a:gsLst>
            <a:lin ang="180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s-CO" sz="1224" dirty="0">
              <a:solidFill>
                <a:srgbClr val="FFFFFF"/>
              </a:solidFill>
            </a:endParaRPr>
          </a:p>
        </p:txBody>
      </p:sp>
      <p:pic>
        <p:nvPicPr>
          <p:cNvPr id="27" name="Imagen 13">
            <a:extLst>
              <a:ext uri="{FF2B5EF4-FFF2-40B4-BE49-F238E27FC236}">
                <a16:creationId xmlns:a16="http://schemas.microsoft.com/office/drawing/2014/main" id="{734F29AA-6918-435C-9E75-8EDC278CF38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5091" y="5937838"/>
            <a:ext cx="397052" cy="577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es-ES_tradn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D8D00F-BC77-48BF-B2D2-ADD0AB2030A6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573364A-8D1D-469F-8B23-75FBE4494DF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FAE5904-BE90-4A25-A015-FF10101C7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5" t="1207" r="17090" b="43908"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691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6466CF-A519-4336-8705-7684ADC3D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6466CF-A519-4336-8705-7684ADC3D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4F75D7-6A3A-46F5-921A-BD6831A0FFF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1" y="-53134"/>
            <a:ext cx="66" cy="215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O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0C013-FA55-4AA3-A080-54A64AA3D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to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02AB330D-DF1D-4865-B0DA-2A4297DB09C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855655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1E95CD-7F1B-460F-A922-F9A1C25EDF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3838E00-DEAD-47D9-A197-153B793C6370}"/>
              </a:ext>
            </a:extLst>
          </p:cNvPr>
          <p:cNvGrpSpPr/>
          <p:nvPr userDrawn="1"/>
        </p:nvGrpSpPr>
        <p:grpSpPr>
          <a:xfrm>
            <a:off x="0" y="0"/>
            <a:ext cx="12196321" cy="3425760"/>
            <a:chOff x="0" y="3579495"/>
            <a:chExt cx="11953348" cy="33575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EC99574-1D15-43F4-BF68-911A6CCD7676}"/>
                </a:ext>
              </a:extLst>
            </p:cNvPr>
            <p:cNvGrpSpPr/>
            <p:nvPr/>
          </p:nvGrpSpPr>
          <p:grpSpPr>
            <a:xfrm>
              <a:off x="0" y="3579495"/>
              <a:ext cx="11953348" cy="3357562"/>
              <a:chOff x="0" y="3579495"/>
              <a:chExt cx="11953348" cy="3357562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4A9F2F89-36E3-436B-A1B5-B479ADB40645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9586" t="8296" r="15587" b="6021"/>
              <a:stretch/>
            </p:blipFill>
            <p:spPr>
              <a:xfrm>
                <a:off x="0" y="3579495"/>
                <a:ext cx="11949114" cy="3357562"/>
              </a:xfrm>
              <a:prstGeom prst="rect">
                <a:avLst/>
              </a:prstGeom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FB48EF2-36A8-4F5E-A3CF-F631A308A459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4234" y="3579495"/>
                <a:ext cx="11949114" cy="3357562"/>
              </a:xfrm>
              <a:prstGeom prst="rect">
                <a:avLst/>
              </a:prstGeom>
              <a:solidFill>
                <a:srgbClr val="5DD7D6">
                  <a:alpha val="2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s-CO" sz="1837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C39C8AE-15E5-492B-8C5A-5443426A3018}"/>
                </a:ext>
              </a:extLst>
            </p:cNvPr>
            <p:cNvSpPr>
              <a:spLocks/>
            </p:cNvSpPr>
            <p:nvPr/>
          </p:nvSpPr>
          <p:spPr>
            <a:xfrm flipH="1">
              <a:off x="0" y="3579495"/>
              <a:ext cx="11949114" cy="3357562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alpha val="40000"/>
                  </a:schemeClr>
                </a:gs>
                <a:gs pos="70000">
                  <a:schemeClr val="accent4">
                    <a:alpha val="40000"/>
                  </a:schemeClr>
                </a:gs>
                <a:gs pos="30000">
                  <a:schemeClr val="accent2">
                    <a:alpha val="40000"/>
                  </a:schemeClr>
                </a:gs>
                <a:gs pos="100000">
                  <a:schemeClr val="accent5"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O" sz="1837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6577" y="3789610"/>
            <a:ext cx="7611527" cy="6704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357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es-ES_tradn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6577" y="5498890"/>
            <a:ext cx="7611527" cy="2826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37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es-ES_tradn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6577" y="5879305"/>
            <a:ext cx="761152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_tradnl" sz="1837" baseline="0" noProof="0" dirty="0" err="1">
                <a:solidFill>
                  <a:schemeClr val="accent6"/>
                </a:solidFill>
                <a:latin typeface="+mn-lt"/>
              </a:rPr>
              <a:t>Document</a:t>
            </a:r>
            <a:r>
              <a:rPr lang="es-ES_tradnl" sz="1837" baseline="0" noProof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es-ES_tradnl" sz="1837" baseline="0" noProof="0" dirty="0" err="1">
                <a:solidFill>
                  <a:schemeClr val="accent6"/>
                </a:solidFill>
                <a:latin typeface="+mn-lt"/>
              </a:rPr>
              <a:t>type</a:t>
            </a:r>
            <a:r>
              <a:rPr lang="es-ES_tradnl" sz="1837" baseline="0" noProof="0" dirty="0">
                <a:solidFill>
                  <a:schemeClr val="accent6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336577" y="6461668"/>
            <a:ext cx="76115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21171" eaLnBrk="0" hangingPunct="0"/>
            <a:r>
              <a:rPr lang="es-ES_tradnl" sz="816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DOCUMENTO CONFIDENCIAL.  Queda prohibido su uso y distribución sin la autorización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7958FED-D7D9-4230-849C-EE8D3A4FD989}"/>
              </a:ext>
            </a:extLst>
          </p:cNvPr>
          <p:cNvGrpSpPr/>
          <p:nvPr userDrawn="1"/>
        </p:nvGrpSpPr>
        <p:grpSpPr>
          <a:xfrm>
            <a:off x="10026655" y="3894059"/>
            <a:ext cx="1441995" cy="2365494"/>
            <a:chOff x="11280404" y="5712815"/>
            <a:chExt cx="401267" cy="65825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C742F5C-8164-4A55-B97F-16D441164E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12" t="7740" r="15512" b="27025"/>
            <a:stretch/>
          </p:blipFill>
          <p:spPr>
            <a:xfrm>
              <a:off x="11283430" y="5712815"/>
              <a:ext cx="395214" cy="501077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265E464-4F5C-4749-8BD7-E928C1BE819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01" t="73849" r="15188" b="8200"/>
            <a:stretch/>
          </p:blipFill>
          <p:spPr>
            <a:xfrm>
              <a:off x="11280404" y="6230739"/>
              <a:ext cx="401267" cy="140334"/>
            </a:xfrm>
            <a:prstGeom prst="rect">
              <a:avLst/>
            </a:prstGeom>
          </p:spPr>
        </p:pic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A277DE5B-5AB5-495F-A452-B279CDB70B70}"/>
              </a:ext>
            </a:extLst>
          </p:cNvPr>
          <p:cNvSpPr/>
          <p:nvPr userDrawn="1"/>
        </p:nvSpPr>
        <p:spPr>
          <a:xfrm>
            <a:off x="7127101" y="2479168"/>
            <a:ext cx="1414912" cy="1414891"/>
          </a:xfrm>
          <a:prstGeom prst="ellipse">
            <a:avLst/>
          </a:prstGeom>
          <a:solidFill>
            <a:schemeClr val="bg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AC5C1E1-B67B-45E5-BC69-314D26E5BF7E}"/>
              </a:ext>
            </a:extLst>
          </p:cNvPr>
          <p:cNvSpPr/>
          <p:nvPr/>
        </p:nvSpPr>
        <p:spPr>
          <a:xfrm rot="17770329" flipV="1">
            <a:off x="8758921" y="-173963"/>
            <a:ext cx="3889938" cy="3196538"/>
          </a:xfrm>
          <a:custGeom>
            <a:avLst/>
            <a:gdLst>
              <a:gd name="connsiteX0" fmla="*/ 3812499 w 3812499"/>
              <a:gd name="connsiteY0" fmla="*/ 878189 h 3132857"/>
              <a:gd name="connsiteX1" fmla="*/ 2025589 w 3812499"/>
              <a:gd name="connsiteY1" fmla="*/ 0 h 3132857"/>
              <a:gd name="connsiteX2" fmla="*/ 1993261 w 3812499"/>
              <a:gd name="connsiteY2" fmla="*/ 10638 h 3132857"/>
              <a:gd name="connsiteX3" fmla="*/ 234575 w 3812499"/>
              <a:gd name="connsiteY3" fmla="*/ 1426719 h 3132857"/>
              <a:gd name="connsiteX4" fmla="*/ 1589655 w 3812499"/>
              <a:gd name="connsiteY4" fmla="*/ 2931957 h 3132857"/>
              <a:gd name="connsiteX5" fmla="*/ 2842333 w 3812499"/>
              <a:gd name="connsiteY5" fmla="*/ 2541612 h 3132857"/>
              <a:gd name="connsiteX6" fmla="*/ 2991611 w 3812499"/>
              <a:gd name="connsiteY6" fmla="*/ 2548503 h 3132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2499" h="3132857">
                <a:moveTo>
                  <a:pt x="3812499" y="878189"/>
                </a:moveTo>
                <a:lnTo>
                  <a:pt x="2025589" y="0"/>
                </a:lnTo>
                <a:lnTo>
                  <a:pt x="1993261" y="10638"/>
                </a:lnTo>
                <a:cubicBezTo>
                  <a:pt x="873407" y="441623"/>
                  <a:pt x="248591" y="1357700"/>
                  <a:pt x="234575" y="1426719"/>
                </a:cubicBezTo>
                <a:cubicBezTo>
                  <a:pt x="-447389" y="2656469"/>
                  <a:pt x="465384" y="3549752"/>
                  <a:pt x="1589655" y="2931957"/>
                </a:cubicBezTo>
                <a:cubicBezTo>
                  <a:pt x="2012929" y="2661025"/>
                  <a:pt x="2441230" y="2542576"/>
                  <a:pt x="2842333" y="2541612"/>
                </a:cubicBezTo>
                <a:lnTo>
                  <a:pt x="2991611" y="254850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1CC8FB-0EEB-4D50-9F4A-48B564C71CFE}"/>
              </a:ext>
            </a:extLst>
          </p:cNvPr>
          <p:cNvSpPr/>
          <p:nvPr userDrawn="1"/>
        </p:nvSpPr>
        <p:spPr>
          <a:xfrm>
            <a:off x="0" y="3224410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6234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1E95CD-7F1B-460F-A922-F9A1C25EDF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Imagen 6">
            <a:extLst>
              <a:ext uri="{FF2B5EF4-FFF2-40B4-BE49-F238E27FC236}">
                <a16:creationId xmlns:a16="http://schemas.microsoft.com/office/drawing/2014/main" id="{E3D0A7F5-5B35-4F92-A161-7AD933A335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6" r="16" b="62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19" name="Imagen 13">
            <a:extLst>
              <a:ext uri="{FF2B5EF4-FFF2-40B4-BE49-F238E27FC236}">
                <a16:creationId xmlns:a16="http://schemas.microsoft.com/office/drawing/2014/main" id="{F440CF0B-5337-430C-8301-371D74B8393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5121" y="3897234"/>
            <a:ext cx="1605213" cy="2333647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6577" y="3789610"/>
            <a:ext cx="7611527" cy="6704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3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es-ES_tradn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6577" y="5498890"/>
            <a:ext cx="7611527" cy="2826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37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es-ES_tradn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6577" y="5879305"/>
            <a:ext cx="761152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_tradnl" sz="1837" baseline="0" noProof="0" dirty="0" err="1">
                <a:solidFill>
                  <a:schemeClr val="bg1"/>
                </a:solidFill>
                <a:latin typeface="+mn-lt"/>
              </a:rPr>
              <a:t>Document</a:t>
            </a:r>
            <a:r>
              <a:rPr lang="es-ES_tradnl" sz="1837" baseline="0" noProof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ES_tradnl" sz="1837" baseline="0" noProof="0" dirty="0" err="1">
                <a:solidFill>
                  <a:schemeClr val="bg1"/>
                </a:solidFill>
                <a:latin typeface="+mn-lt"/>
              </a:rPr>
              <a:t>type</a:t>
            </a:r>
            <a:r>
              <a:rPr lang="es-ES_tradnl" sz="1837" baseline="0" noProof="0" dirty="0">
                <a:solidFill>
                  <a:schemeClr val="bg1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336577" y="6398861"/>
            <a:ext cx="76115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21171" eaLnBrk="0" hangingPunct="0"/>
            <a:r>
              <a:rPr lang="es-ES_tradnl" sz="816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DOCUMENTO CONFIDENCIAL.  Queda prohibido su uso y distribución sin la autorización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1CC8FB-0EEB-4D50-9F4A-48B564C71CFE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80354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01D1C0-25FD-48B9-A85A-A010B4650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5" imgW="370" imgH="371" progId="TCLayout.ActiveDocument.1">
                  <p:embed/>
                </p:oleObj>
              </mc:Choice>
              <mc:Fallback>
                <p:oleObj name="think-cell Slide" r:id="rId5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01D1C0-25FD-48B9-A85A-A010B4650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1F3703-D594-4EDE-8FF6-59EC42C0A3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s-ES_tradnl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EA173D3-339C-4414-863E-DAFC27F43E6A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968E1EF-8D18-4F86-B229-FCE1D49CDC25}"/>
              </a:ext>
            </a:extLst>
          </p:cNvPr>
          <p:cNvGrpSpPr/>
          <p:nvPr userDrawn="1"/>
        </p:nvGrpSpPr>
        <p:grpSpPr>
          <a:xfrm>
            <a:off x="11641748" y="5937613"/>
            <a:ext cx="352655" cy="578506"/>
            <a:chOff x="11280404" y="5712815"/>
            <a:chExt cx="401267" cy="65825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366988C-550C-4BC0-B8F8-8CB0CC90CD8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12" t="7740" r="15512" b="27025"/>
            <a:stretch/>
          </p:blipFill>
          <p:spPr>
            <a:xfrm>
              <a:off x="11283430" y="5712815"/>
              <a:ext cx="395214" cy="501077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0B6082E-D69E-43CF-AD9E-DC335CB0FC1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01" t="73849" r="15188" b="8200"/>
            <a:stretch/>
          </p:blipFill>
          <p:spPr>
            <a:xfrm>
              <a:off x="11280404" y="6230739"/>
              <a:ext cx="401267" cy="1403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8632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E421E6-BDBD-4E39-A4DE-2A8B36A47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9" name="Imagen 7">
            <a:extLst>
              <a:ext uri="{FF2B5EF4-FFF2-40B4-BE49-F238E27FC236}">
                <a16:creationId xmlns:a16="http://schemas.microsoft.com/office/drawing/2014/main" id="{3BFC951E-EA07-4934-A316-6973C8EC9C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1" b="15"/>
          <a:stretch/>
        </p:blipFill>
        <p:spPr>
          <a:xfrm>
            <a:off x="0" y="0"/>
            <a:ext cx="12193929" cy="6857999"/>
          </a:xfrm>
          <a:prstGeom prst="rect">
            <a:avLst/>
          </a:prstGeom>
        </p:spPr>
      </p:pic>
      <p:pic>
        <p:nvPicPr>
          <p:cNvPr id="27" name="Imagen 13">
            <a:extLst>
              <a:ext uri="{FF2B5EF4-FFF2-40B4-BE49-F238E27FC236}">
                <a16:creationId xmlns:a16="http://schemas.microsoft.com/office/drawing/2014/main" id="{734F29AA-6918-435C-9E75-8EDC278CF38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5091" y="5937838"/>
            <a:ext cx="397052" cy="577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es-ES_tradn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D8D00F-BC77-48BF-B2D2-ADD0AB2030A6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573364A-8D1D-469F-8B23-75FBE4494DF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FAE5904-BE90-4A25-A015-FF10101C7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5" t="1207" r="17090" b="43908"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47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E421E6-BDBD-4E39-A4DE-2A8B36A47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E74F18-DDFD-4357-8857-563D0CEFC6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-1"/>
            <a:ext cx="12192003" cy="68580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D47A856-D863-4DC4-B44E-5193C8D3397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>
            <a:gsLst>
              <a:gs pos="17000">
                <a:schemeClr val="accent4">
                  <a:alpha val="90000"/>
                </a:schemeClr>
              </a:gs>
              <a:gs pos="100000">
                <a:schemeClr val="accent3"/>
              </a:gs>
            </a:gsLst>
            <a:lin ang="180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s-CO" sz="1224" dirty="0">
              <a:solidFill>
                <a:srgbClr val="FFFFFF"/>
              </a:solidFill>
            </a:endParaRPr>
          </a:p>
        </p:txBody>
      </p:sp>
      <p:pic>
        <p:nvPicPr>
          <p:cNvPr id="27" name="Imagen 13">
            <a:extLst>
              <a:ext uri="{FF2B5EF4-FFF2-40B4-BE49-F238E27FC236}">
                <a16:creationId xmlns:a16="http://schemas.microsoft.com/office/drawing/2014/main" id="{734F29AA-6918-435C-9E75-8EDC278CF38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5091" y="5937838"/>
            <a:ext cx="397052" cy="577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es-ES_tradn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D8D00F-BC77-48BF-B2D2-ADD0AB2030A6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573364A-8D1D-469F-8B23-75FBE4494DF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FAE5904-BE90-4A25-A015-FF10101C7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5" t="1207" r="17090" b="43908"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543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CA6279-BA9E-4AD5-B6B4-FBD62D7397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C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6F71ADE-928A-44A9-A1D5-8CFDD4596F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60612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2490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2490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29A5E1BC-8F6B-43EF-9FF6-8242E7708BD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743" y="5914642"/>
            <a:ext cx="5757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grpSp>
        <p:nvGrpSpPr>
          <p:cNvPr id="2" name="Group 4">
            <a:extLst>
              <a:ext uri="{FF2B5EF4-FFF2-40B4-BE49-F238E27FC236}">
                <a16:creationId xmlns:a16="http://schemas.microsoft.com/office/drawing/2014/main" id="{63F02F42-4916-4588-807F-4BB7367EB0E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D928C5-1C7D-4599-A7E9-8AB1B188C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37C281E8-2924-471F-A849-26C37A059B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657520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1E95CD-7F1B-460F-A922-F9A1C25EDF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Imagen 6">
            <a:extLst>
              <a:ext uri="{FF2B5EF4-FFF2-40B4-BE49-F238E27FC236}">
                <a16:creationId xmlns:a16="http://schemas.microsoft.com/office/drawing/2014/main" id="{E3D0A7F5-5B35-4F92-A161-7AD933A335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6" r="16" b="62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19" name="Imagen 13">
            <a:extLst>
              <a:ext uri="{FF2B5EF4-FFF2-40B4-BE49-F238E27FC236}">
                <a16:creationId xmlns:a16="http://schemas.microsoft.com/office/drawing/2014/main" id="{F440CF0B-5337-430C-8301-371D74B8393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5121" y="3897234"/>
            <a:ext cx="1605213" cy="2333647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6577" y="3789610"/>
            <a:ext cx="7611527" cy="6704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3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es-ES_tradn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6577" y="5498890"/>
            <a:ext cx="7611527" cy="2826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37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es-ES_tradn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6577" y="5879305"/>
            <a:ext cx="761152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_tradnl" sz="1837" baseline="0" noProof="0" dirty="0" err="1">
                <a:solidFill>
                  <a:schemeClr val="bg1"/>
                </a:solidFill>
                <a:latin typeface="+mn-lt"/>
              </a:rPr>
              <a:t>Document</a:t>
            </a:r>
            <a:r>
              <a:rPr lang="es-ES_tradnl" sz="1837" baseline="0" noProof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ES_tradnl" sz="1837" baseline="0" noProof="0" dirty="0" err="1">
                <a:solidFill>
                  <a:schemeClr val="bg1"/>
                </a:solidFill>
                <a:latin typeface="+mn-lt"/>
              </a:rPr>
              <a:t>type</a:t>
            </a:r>
            <a:r>
              <a:rPr lang="es-ES_tradnl" sz="1837" baseline="0" noProof="0" dirty="0">
                <a:solidFill>
                  <a:schemeClr val="bg1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336577" y="6398861"/>
            <a:ext cx="7611527" cy="2561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21171" eaLnBrk="0" hangingPunct="0"/>
            <a:r>
              <a:rPr lang="en-GB" sz="816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CONFIDENTIAL AND PROPRIETARY</a:t>
            </a:r>
          </a:p>
          <a:p>
            <a:pPr defTabSz="821171" eaLnBrk="0" hangingPunct="0"/>
            <a:r>
              <a:rPr lang="en-GB" sz="816" kern="1200" baseline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Any use of this material without specific permission is strictly prohibited</a:t>
            </a:r>
            <a:endParaRPr lang="es-ES_tradnl" sz="816" kern="1200" baseline="0" dirty="0">
              <a:solidFill>
                <a:schemeClr val="bg1"/>
              </a:solidFill>
              <a:latin typeface="Arial" charset="0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1CC8FB-0EEB-4D50-9F4A-48B564C71CFE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430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56">
            <a:extLst>
              <a:ext uri="{FF2B5EF4-FFF2-40B4-BE49-F238E27FC236}">
                <a16:creationId xmlns:a16="http://schemas.microsoft.com/office/drawing/2014/main" id="{13A7AC18-CF42-4EC5-8D40-441EAE30A06C}"/>
              </a:ext>
            </a:extLst>
          </p:cNvPr>
          <p:cNvSpPr/>
          <p:nvPr/>
        </p:nvSpPr>
        <p:spPr>
          <a:xfrm>
            <a:off x="497856" y="795662"/>
            <a:ext cx="4927845" cy="3581484"/>
          </a:xfrm>
          <a:custGeom>
            <a:avLst/>
            <a:gdLst>
              <a:gd name="connsiteX0" fmla="*/ 4238387 w 4257675"/>
              <a:gd name="connsiteY0" fmla="*/ 0 h 3092804"/>
              <a:gd name="connsiteX1" fmla="*/ 4257675 w 4257675"/>
              <a:gd name="connsiteY1" fmla="*/ 0 h 3092804"/>
              <a:gd name="connsiteX2" fmla="*/ 4257675 w 4257675"/>
              <a:gd name="connsiteY2" fmla="*/ 3092804 h 3092804"/>
              <a:gd name="connsiteX3" fmla="*/ 0 w 4257675"/>
              <a:gd name="connsiteY3" fmla="*/ 3092804 h 3092804"/>
              <a:gd name="connsiteX4" fmla="*/ 0 w 4257675"/>
              <a:gd name="connsiteY4" fmla="*/ 747342 h 3092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7675" h="3092804">
                <a:moveTo>
                  <a:pt x="4238387" y="0"/>
                </a:moveTo>
                <a:lnTo>
                  <a:pt x="4257675" y="0"/>
                </a:lnTo>
                <a:lnTo>
                  <a:pt x="4257675" y="3092804"/>
                </a:lnTo>
                <a:lnTo>
                  <a:pt x="0" y="3092804"/>
                </a:lnTo>
                <a:lnTo>
                  <a:pt x="0" y="747342"/>
                </a:lnTo>
                <a:close/>
              </a:path>
            </a:pathLst>
          </a:custGeom>
          <a:solidFill>
            <a:srgbClr val="FF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99" dirty="0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775100" y="1954221"/>
            <a:ext cx="4326679" cy="979702"/>
          </a:xfr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775100" y="3046159"/>
            <a:ext cx="4326679" cy="1046323"/>
          </a:xfrm>
        </p:spPr>
        <p:txBody>
          <a:bodyPr/>
          <a:lstStyle>
            <a:lvl1pPr marL="0" indent="0" algn="l">
              <a:spcAft>
                <a:spcPts val="1199"/>
              </a:spcAft>
              <a:buNone/>
              <a:defRPr sz="1999">
                <a:solidFill>
                  <a:schemeClr val="bg1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599" b="1">
                <a:solidFill>
                  <a:srgbClr val="404040"/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93BD223-2224-476C-AB5C-300C248C1618}"/>
              </a:ext>
            </a:extLst>
          </p:cNvPr>
          <p:cNvCxnSpPr>
            <a:cxnSpLocks/>
          </p:cNvCxnSpPr>
          <p:nvPr/>
        </p:nvCxnSpPr>
        <p:spPr>
          <a:xfrm>
            <a:off x="1332490" y="5709060"/>
            <a:ext cx="8117873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651B4C43-E5F8-400E-A971-58A3766B1BF0}"/>
              </a:ext>
            </a:extLst>
          </p:cNvPr>
          <p:cNvSpPr txBox="1"/>
          <p:nvPr/>
        </p:nvSpPr>
        <p:spPr>
          <a:xfrm>
            <a:off x="461744" y="5605201"/>
            <a:ext cx="1044529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199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A9465B6B-DFD4-4E0C-9ACE-E88CA22204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1744" y="6019189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16">
            <a:extLst>
              <a:ext uri="{FF2B5EF4-FFF2-40B4-BE49-F238E27FC236}">
                <a16:creationId xmlns:a16="http://schemas.microsoft.com/office/drawing/2014/main" id="{A1F2ED22-5637-4AB8-ABD8-3693A6EA55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1744" y="6216807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5CE71800-5B4B-4F94-8DA1-A2C05D9E87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8FB548F-77B7-4F42-8CF1-C53943386A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0005A69-42DA-4C6D-A41C-62C78DAFE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39197322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5" name="Group 234">
            <a:extLst>
              <a:ext uri="{FF2B5EF4-FFF2-40B4-BE49-F238E27FC236}">
                <a16:creationId xmlns:a16="http://schemas.microsoft.com/office/drawing/2014/main" id="{5342E118-6F1D-4C46-956E-4CCCBCAA7952}"/>
              </a:ext>
            </a:extLst>
          </p:cNvPr>
          <p:cNvGrpSpPr/>
          <p:nvPr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68" name="Rectangle 167">
              <a:extLst>
                <a:ext uri="{FF2B5EF4-FFF2-40B4-BE49-F238E27FC236}">
                  <a16:creationId xmlns:a16="http://schemas.microsoft.com/office/drawing/2014/main" id="{A22049CA-64AE-409F-988D-A7317F8AD1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9" name="Rectangle 6">
              <a:extLst>
                <a:ext uri="{FF2B5EF4-FFF2-40B4-BE49-F238E27FC236}">
                  <a16:creationId xmlns:a16="http://schemas.microsoft.com/office/drawing/2014/main" id="{E37A0A05-0A78-44A7-8873-0A1A20C8717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0" name="Rectangle 7">
              <a:extLst>
                <a:ext uri="{FF2B5EF4-FFF2-40B4-BE49-F238E27FC236}">
                  <a16:creationId xmlns:a16="http://schemas.microsoft.com/office/drawing/2014/main" id="{0DEA0CBE-8527-4287-BF98-DA48947875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1" name="Freeform 8">
              <a:extLst>
                <a:ext uri="{FF2B5EF4-FFF2-40B4-BE49-F238E27FC236}">
                  <a16:creationId xmlns:a16="http://schemas.microsoft.com/office/drawing/2014/main" id="{444058C6-612A-446E-8F68-0E5CC4CFF3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2" name="Freeform 9">
              <a:extLst>
                <a:ext uri="{FF2B5EF4-FFF2-40B4-BE49-F238E27FC236}">
                  <a16:creationId xmlns:a16="http://schemas.microsoft.com/office/drawing/2014/main" id="{1011EC31-E0C3-404F-93B3-EFD3DADC11CB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3" name="Freeform 10">
              <a:extLst>
                <a:ext uri="{FF2B5EF4-FFF2-40B4-BE49-F238E27FC236}">
                  <a16:creationId xmlns:a16="http://schemas.microsoft.com/office/drawing/2014/main" id="{3C9D076B-D88C-4089-8D58-9A31CFCDB0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4" name="Freeform 11">
              <a:extLst>
                <a:ext uri="{FF2B5EF4-FFF2-40B4-BE49-F238E27FC236}">
                  <a16:creationId xmlns:a16="http://schemas.microsoft.com/office/drawing/2014/main" id="{29DB43AC-B765-4ECB-B483-562473BD4A3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5" name="Freeform 12">
              <a:extLst>
                <a:ext uri="{FF2B5EF4-FFF2-40B4-BE49-F238E27FC236}">
                  <a16:creationId xmlns:a16="http://schemas.microsoft.com/office/drawing/2014/main" id="{AF1DE1B8-EA4B-4A98-A97D-BA5EEA42B1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6" name="Freeform 13">
              <a:extLst>
                <a:ext uri="{FF2B5EF4-FFF2-40B4-BE49-F238E27FC236}">
                  <a16:creationId xmlns:a16="http://schemas.microsoft.com/office/drawing/2014/main" id="{F8F60B79-7AF5-4C5E-A5EF-126F117D59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7" name="Freeform 14">
              <a:extLst>
                <a:ext uri="{FF2B5EF4-FFF2-40B4-BE49-F238E27FC236}">
                  <a16:creationId xmlns:a16="http://schemas.microsoft.com/office/drawing/2014/main" id="{0A0438AD-9937-4C25-AB9E-7F8C8CCA23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8" name="Freeform 15">
              <a:extLst>
                <a:ext uri="{FF2B5EF4-FFF2-40B4-BE49-F238E27FC236}">
                  <a16:creationId xmlns:a16="http://schemas.microsoft.com/office/drawing/2014/main" id="{6FDE2726-7032-4BE4-A420-0ECF49A32A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79" name="Freeform 16">
              <a:extLst>
                <a:ext uri="{FF2B5EF4-FFF2-40B4-BE49-F238E27FC236}">
                  <a16:creationId xmlns:a16="http://schemas.microsoft.com/office/drawing/2014/main" id="{50C22C21-F8DB-486D-9042-765D68AE3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0" name="Freeform 17">
              <a:extLst>
                <a:ext uri="{FF2B5EF4-FFF2-40B4-BE49-F238E27FC236}">
                  <a16:creationId xmlns:a16="http://schemas.microsoft.com/office/drawing/2014/main" id="{7F763F72-BB8F-482C-9FDA-40EDD6EE5F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1" name="Freeform 18">
              <a:extLst>
                <a:ext uri="{FF2B5EF4-FFF2-40B4-BE49-F238E27FC236}">
                  <a16:creationId xmlns:a16="http://schemas.microsoft.com/office/drawing/2014/main" id="{710F466C-6BEC-4970-9707-40D8002740B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2" name="Freeform 19">
              <a:extLst>
                <a:ext uri="{FF2B5EF4-FFF2-40B4-BE49-F238E27FC236}">
                  <a16:creationId xmlns:a16="http://schemas.microsoft.com/office/drawing/2014/main" id="{3332407D-F423-41B2-985F-8A4482C61D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3" name="Freeform 20">
              <a:extLst>
                <a:ext uri="{FF2B5EF4-FFF2-40B4-BE49-F238E27FC236}">
                  <a16:creationId xmlns:a16="http://schemas.microsoft.com/office/drawing/2014/main" id="{44E3286F-1188-47B1-8B46-3498795DF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4" name="Freeform 21">
              <a:extLst>
                <a:ext uri="{FF2B5EF4-FFF2-40B4-BE49-F238E27FC236}">
                  <a16:creationId xmlns:a16="http://schemas.microsoft.com/office/drawing/2014/main" id="{E7BD9E0B-920A-4409-95E7-40A47107B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5" name="Freeform 22">
              <a:extLst>
                <a:ext uri="{FF2B5EF4-FFF2-40B4-BE49-F238E27FC236}">
                  <a16:creationId xmlns:a16="http://schemas.microsoft.com/office/drawing/2014/main" id="{9D2625B8-0A5B-46EF-8302-77353AB0D3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6" name="Freeform 23">
              <a:extLst>
                <a:ext uri="{FF2B5EF4-FFF2-40B4-BE49-F238E27FC236}">
                  <a16:creationId xmlns:a16="http://schemas.microsoft.com/office/drawing/2014/main" id="{DE6C9E0E-C49B-4FBE-97F3-BB6DFAC57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7" name="Freeform 24">
              <a:extLst>
                <a:ext uri="{FF2B5EF4-FFF2-40B4-BE49-F238E27FC236}">
                  <a16:creationId xmlns:a16="http://schemas.microsoft.com/office/drawing/2014/main" id="{580801ED-9260-41DB-A0B7-5AF24B322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8" name="Freeform 25">
              <a:extLst>
                <a:ext uri="{FF2B5EF4-FFF2-40B4-BE49-F238E27FC236}">
                  <a16:creationId xmlns:a16="http://schemas.microsoft.com/office/drawing/2014/main" id="{3A9842FB-6E95-4D11-B5B9-58C4CB82C2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89" name="Freeform 26">
              <a:extLst>
                <a:ext uri="{FF2B5EF4-FFF2-40B4-BE49-F238E27FC236}">
                  <a16:creationId xmlns:a16="http://schemas.microsoft.com/office/drawing/2014/main" id="{076538BB-C266-42BE-916B-458AF9EFB2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0" name="Freeform 27">
              <a:extLst>
                <a:ext uri="{FF2B5EF4-FFF2-40B4-BE49-F238E27FC236}">
                  <a16:creationId xmlns:a16="http://schemas.microsoft.com/office/drawing/2014/main" id="{A7C95C0F-A1E9-46B5-B9DB-284F35C72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28">
              <a:extLst>
                <a:ext uri="{FF2B5EF4-FFF2-40B4-BE49-F238E27FC236}">
                  <a16:creationId xmlns:a16="http://schemas.microsoft.com/office/drawing/2014/main" id="{BEEA6186-B2B9-4E5E-9631-B6332C7FDB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29">
              <a:extLst>
                <a:ext uri="{FF2B5EF4-FFF2-40B4-BE49-F238E27FC236}">
                  <a16:creationId xmlns:a16="http://schemas.microsoft.com/office/drawing/2014/main" id="{E9B00A5D-BE04-4D7D-B4A2-204E2D0E0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30">
              <a:extLst>
                <a:ext uri="{FF2B5EF4-FFF2-40B4-BE49-F238E27FC236}">
                  <a16:creationId xmlns:a16="http://schemas.microsoft.com/office/drawing/2014/main" id="{72C85502-C007-49A3-A8AB-2BCC8C5394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31">
              <a:extLst>
                <a:ext uri="{FF2B5EF4-FFF2-40B4-BE49-F238E27FC236}">
                  <a16:creationId xmlns:a16="http://schemas.microsoft.com/office/drawing/2014/main" id="{9A42586B-B388-4323-82EB-ED3423EDC5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32">
              <a:extLst>
                <a:ext uri="{FF2B5EF4-FFF2-40B4-BE49-F238E27FC236}">
                  <a16:creationId xmlns:a16="http://schemas.microsoft.com/office/drawing/2014/main" id="{558D2F0C-3796-492F-9EBD-4BB822191F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33">
              <a:extLst>
                <a:ext uri="{FF2B5EF4-FFF2-40B4-BE49-F238E27FC236}">
                  <a16:creationId xmlns:a16="http://schemas.microsoft.com/office/drawing/2014/main" id="{DE4E3633-17EF-414F-A86D-0B6A9F2F098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34">
              <a:extLst>
                <a:ext uri="{FF2B5EF4-FFF2-40B4-BE49-F238E27FC236}">
                  <a16:creationId xmlns:a16="http://schemas.microsoft.com/office/drawing/2014/main" id="{2572AE39-9386-47FC-B6AF-FBCF804BE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35">
              <a:extLst>
                <a:ext uri="{FF2B5EF4-FFF2-40B4-BE49-F238E27FC236}">
                  <a16:creationId xmlns:a16="http://schemas.microsoft.com/office/drawing/2014/main" id="{7096AEC6-B8C0-4212-842F-89677AE7D800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36">
              <a:extLst>
                <a:ext uri="{FF2B5EF4-FFF2-40B4-BE49-F238E27FC236}">
                  <a16:creationId xmlns:a16="http://schemas.microsoft.com/office/drawing/2014/main" id="{406AD873-E434-40CF-BFBD-6D1D1CA7CB8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37">
              <a:extLst>
                <a:ext uri="{FF2B5EF4-FFF2-40B4-BE49-F238E27FC236}">
                  <a16:creationId xmlns:a16="http://schemas.microsoft.com/office/drawing/2014/main" id="{74857EE2-44CC-4E8F-B1BB-355509B3E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38">
              <a:extLst>
                <a:ext uri="{FF2B5EF4-FFF2-40B4-BE49-F238E27FC236}">
                  <a16:creationId xmlns:a16="http://schemas.microsoft.com/office/drawing/2014/main" id="{D39EC8B1-952E-4BF5-9735-6A38584161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39">
              <a:extLst>
                <a:ext uri="{FF2B5EF4-FFF2-40B4-BE49-F238E27FC236}">
                  <a16:creationId xmlns:a16="http://schemas.microsoft.com/office/drawing/2014/main" id="{EA37D3DF-3401-44BD-97F4-F423BFC87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40">
              <a:extLst>
                <a:ext uri="{FF2B5EF4-FFF2-40B4-BE49-F238E27FC236}">
                  <a16:creationId xmlns:a16="http://schemas.microsoft.com/office/drawing/2014/main" id="{7DFA4B46-95EA-4D4D-800F-4D2DB7BB66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41">
              <a:extLst>
                <a:ext uri="{FF2B5EF4-FFF2-40B4-BE49-F238E27FC236}">
                  <a16:creationId xmlns:a16="http://schemas.microsoft.com/office/drawing/2014/main" id="{EF5012BA-3255-4BEF-8F4F-9117A6BEF3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42">
              <a:extLst>
                <a:ext uri="{FF2B5EF4-FFF2-40B4-BE49-F238E27FC236}">
                  <a16:creationId xmlns:a16="http://schemas.microsoft.com/office/drawing/2014/main" id="{223989A0-E246-4806-AF7E-9D6C2B1DD489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43">
              <a:extLst>
                <a:ext uri="{FF2B5EF4-FFF2-40B4-BE49-F238E27FC236}">
                  <a16:creationId xmlns:a16="http://schemas.microsoft.com/office/drawing/2014/main" id="{5FED967A-F1ED-4489-A689-A9A49A278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44">
              <a:extLst>
                <a:ext uri="{FF2B5EF4-FFF2-40B4-BE49-F238E27FC236}">
                  <a16:creationId xmlns:a16="http://schemas.microsoft.com/office/drawing/2014/main" id="{DA362954-FE74-40B7-AB98-CC8AC60FF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45">
              <a:extLst>
                <a:ext uri="{FF2B5EF4-FFF2-40B4-BE49-F238E27FC236}">
                  <a16:creationId xmlns:a16="http://schemas.microsoft.com/office/drawing/2014/main" id="{C1C7EF3F-CB28-4C69-901C-8F9F09C5B59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46">
              <a:extLst>
                <a:ext uri="{FF2B5EF4-FFF2-40B4-BE49-F238E27FC236}">
                  <a16:creationId xmlns:a16="http://schemas.microsoft.com/office/drawing/2014/main" id="{80D5AA14-D31C-42E8-B89F-2FCABF204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47">
              <a:extLst>
                <a:ext uri="{FF2B5EF4-FFF2-40B4-BE49-F238E27FC236}">
                  <a16:creationId xmlns:a16="http://schemas.microsoft.com/office/drawing/2014/main" id="{3894EB82-A456-47F8-BB06-FE894AF4B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48">
              <a:extLst>
                <a:ext uri="{FF2B5EF4-FFF2-40B4-BE49-F238E27FC236}">
                  <a16:creationId xmlns:a16="http://schemas.microsoft.com/office/drawing/2014/main" id="{A88F5C3F-FAE1-4A50-86D3-E9A1CAA89A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49">
              <a:extLst>
                <a:ext uri="{FF2B5EF4-FFF2-40B4-BE49-F238E27FC236}">
                  <a16:creationId xmlns:a16="http://schemas.microsoft.com/office/drawing/2014/main" id="{1EFCBDA7-FA42-4391-9872-95EB6DDEA68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50">
              <a:extLst>
                <a:ext uri="{FF2B5EF4-FFF2-40B4-BE49-F238E27FC236}">
                  <a16:creationId xmlns:a16="http://schemas.microsoft.com/office/drawing/2014/main" id="{721D8C30-DB23-4A0B-8A74-BC467086477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51">
              <a:extLst>
                <a:ext uri="{FF2B5EF4-FFF2-40B4-BE49-F238E27FC236}">
                  <a16:creationId xmlns:a16="http://schemas.microsoft.com/office/drawing/2014/main" id="{01AD00CA-8BC7-4B62-AC64-03851855A7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52">
              <a:extLst>
                <a:ext uri="{FF2B5EF4-FFF2-40B4-BE49-F238E27FC236}">
                  <a16:creationId xmlns:a16="http://schemas.microsoft.com/office/drawing/2014/main" id="{BC957590-E3D7-48BF-A1DF-73DCD76738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53">
              <a:extLst>
                <a:ext uri="{FF2B5EF4-FFF2-40B4-BE49-F238E27FC236}">
                  <a16:creationId xmlns:a16="http://schemas.microsoft.com/office/drawing/2014/main" id="{9BC2125B-AF0E-4411-AFA7-3F79B873BF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54">
              <a:extLst>
                <a:ext uri="{FF2B5EF4-FFF2-40B4-BE49-F238E27FC236}">
                  <a16:creationId xmlns:a16="http://schemas.microsoft.com/office/drawing/2014/main" id="{1E5BE33C-9675-423A-802C-0A789DB185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55">
              <a:extLst>
                <a:ext uri="{FF2B5EF4-FFF2-40B4-BE49-F238E27FC236}">
                  <a16:creationId xmlns:a16="http://schemas.microsoft.com/office/drawing/2014/main" id="{FB04A8AC-9DA2-4FB3-985A-DD8E643913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56">
              <a:extLst>
                <a:ext uri="{FF2B5EF4-FFF2-40B4-BE49-F238E27FC236}">
                  <a16:creationId xmlns:a16="http://schemas.microsoft.com/office/drawing/2014/main" id="{F365BB87-C861-4F40-A844-477BAA1EAA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57">
              <a:extLst>
                <a:ext uri="{FF2B5EF4-FFF2-40B4-BE49-F238E27FC236}">
                  <a16:creationId xmlns:a16="http://schemas.microsoft.com/office/drawing/2014/main" id="{8B7E2806-AAFA-45B5-B801-55C79A927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58">
              <a:extLst>
                <a:ext uri="{FF2B5EF4-FFF2-40B4-BE49-F238E27FC236}">
                  <a16:creationId xmlns:a16="http://schemas.microsoft.com/office/drawing/2014/main" id="{7A49B80F-B4C0-4F31-9238-8123D3E20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59">
              <a:extLst>
                <a:ext uri="{FF2B5EF4-FFF2-40B4-BE49-F238E27FC236}">
                  <a16:creationId xmlns:a16="http://schemas.microsoft.com/office/drawing/2014/main" id="{9C60C45F-865F-4118-A4B0-174C696B4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60">
              <a:extLst>
                <a:ext uri="{FF2B5EF4-FFF2-40B4-BE49-F238E27FC236}">
                  <a16:creationId xmlns:a16="http://schemas.microsoft.com/office/drawing/2014/main" id="{15FBF980-B96C-472B-A46B-A731CA164E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61">
              <a:extLst>
                <a:ext uri="{FF2B5EF4-FFF2-40B4-BE49-F238E27FC236}">
                  <a16:creationId xmlns:a16="http://schemas.microsoft.com/office/drawing/2014/main" id="{64F1DD18-05EE-4F9F-9E6B-E03C4C500F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62">
              <a:extLst>
                <a:ext uri="{FF2B5EF4-FFF2-40B4-BE49-F238E27FC236}">
                  <a16:creationId xmlns:a16="http://schemas.microsoft.com/office/drawing/2014/main" id="{6051CC00-BFF2-4334-9855-62AD588546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63">
              <a:extLst>
                <a:ext uri="{FF2B5EF4-FFF2-40B4-BE49-F238E27FC236}">
                  <a16:creationId xmlns:a16="http://schemas.microsoft.com/office/drawing/2014/main" id="{905DD261-B224-46ED-8CEE-E8D180BA4B72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64">
              <a:extLst>
                <a:ext uri="{FF2B5EF4-FFF2-40B4-BE49-F238E27FC236}">
                  <a16:creationId xmlns:a16="http://schemas.microsoft.com/office/drawing/2014/main" id="{A23129DF-0296-4CA9-9723-124682F0A7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65">
              <a:extLst>
                <a:ext uri="{FF2B5EF4-FFF2-40B4-BE49-F238E27FC236}">
                  <a16:creationId xmlns:a16="http://schemas.microsoft.com/office/drawing/2014/main" id="{A2A2BF8E-DA3A-4AC0-B7EB-7CAABFC9E6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66">
              <a:extLst>
                <a:ext uri="{FF2B5EF4-FFF2-40B4-BE49-F238E27FC236}">
                  <a16:creationId xmlns:a16="http://schemas.microsoft.com/office/drawing/2014/main" id="{BEBFC1A4-92B9-418F-A0A9-2E210A37BCF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67">
              <a:extLst>
                <a:ext uri="{FF2B5EF4-FFF2-40B4-BE49-F238E27FC236}">
                  <a16:creationId xmlns:a16="http://schemas.microsoft.com/office/drawing/2014/main" id="{A28B9FD0-8354-4DD6-856A-157C5F8768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68">
              <a:extLst>
                <a:ext uri="{FF2B5EF4-FFF2-40B4-BE49-F238E27FC236}">
                  <a16:creationId xmlns:a16="http://schemas.microsoft.com/office/drawing/2014/main" id="{83D3DEEE-A610-48BE-BADD-6BA188B5B8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69">
              <a:extLst>
                <a:ext uri="{FF2B5EF4-FFF2-40B4-BE49-F238E27FC236}">
                  <a16:creationId xmlns:a16="http://schemas.microsoft.com/office/drawing/2014/main" id="{463C7ADB-C654-4D24-9055-0B6003A770A3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70">
              <a:extLst>
                <a:ext uri="{FF2B5EF4-FFF2-40B4-BE49-F238E27FC236}">
                  <a16:creationId xmlns:a16="http://schemas.microsoft.com/office/drawing/2014/main" id="{40CF3793-E792-4DB3-8064-4B43F4706A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4781392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80552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44A731D0-020D-4D8E-955D-2354AF0FE452}"/>
              </a:ext>
            </a:extLst>
          </p:cNvPr>
          <p:cNvSpPr/>
          <p:nvPr/>
        </p:nvSpPr>
        <p:spPr>
          <a:xfrm>
            <a:off x="489112" y="723658"/>
            <a:ext cx="5677988" cy="3452894"/>
          </a:xfrm>
          <a:custGeom>
            <a:avLst/>
            <a:gdLst>
              <a:gd name="connsiteX0" fmla="*/ 8749 w 5680945"/>
              <a:gd name="connsiteY0" fmla="*/ 1021520 h 3452894"/>
              <a:gd name="connsiteX1" fmla="*/ 8749 w 5680945"/>
              <a:gd name="connsiteY1" fmla="*/ 3164181 h 3452894"/>
              <a:gd name="connsiteX2" fmla="*/ 151414 w 5680945"/>
              <a:gd name="connsiteY2" fmla="*/ 3164181 h 3452894"/>
              <a:gd name="connsiteX3" fmla="*/ 151414 w 5680945"/>
              <a:gd name="connsiteY3" fmla="*/ 1140155 h 3452894"/>
              <a:gd name="connsiteX4" fmla="*/ 5534897 w 5680945"/>
              <a:gd name="connsiteY4" fmla="*/ 179294 h 3452894"/>
              <a:gd name="connsiteX5" fmla="*/ 5534897 w 5680945"/>
              <a:gd name="connsiteY5" fmla="*/ 3306846 h 3452894"/>
              <a:gd name="connsiteX6" fmla="*/ 864624 w 5680945"/>
              <a:gd name="connsiteY6" fmla="*/ 3306846 h 3452894"/>
              <a:gd name="connsiteX7" fmla="*/ 864624 w 5680945"/>
              <a:gd name="connsiteY7" fmla="*/ 3449395 h 3452894"/>
              <a:gd name="connsiteX8" fmla="*/ 5677562 w 5680945"/>
              <a:gd name="connsiteY8" fmla="*/ 3449395 h 3452894"/>
              <a:gd name="connsiteX9" fmla="*/ 5677562 w 5680945"/>
              <a:gd name="connsiteY9" fmla="*/ 8749 h 3452894"/>
              <a:gd name="connsiteX10" fmla="*/ 8749 w 5680945"/>
              <a:gd name="connsiteY10" fmla="*/ 1021520 h 345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80945" h="3452894">
                <a:moveTo>
                  <a:pt x="8749" y="1021520"/>
                </a:moveTo>
                <a:lnTo>
                  <a:pt x="8749" y="3164181"/>
                </a:lnTo>
                <a:lnTo>
                  <a:pt x="151414" y="3164181"/>
                </a:lnTo>
                <a:lnTo>
                  <a:pt x="151414" y="1140155"/>
                </a:lnTo>
                <a:lnTo>
                  <a:pt x="5534897" y="179294"/>
                </a:lnTo>
                <a:lnTo>
                  <a:pt x="5534897" y="3306846"/>
                </a:lnTo>
                <a:lnTo>
                  <a:pt x="864624" y="3306846"/>
                </a:lnTo>
                <a:lnTo>
                  <a:pt x="864624" y="3449395"/>
                </a:lnTo>
                <a:lnTo>
                  <a:pt x="5677562" y="3449395"/>
                </a:lnTo>
                <a:lnTo>
                  <a:pt x="5677562" y="8749"/>
                </a:lnTo>
                <a:lnTo>
                  <a:pt x="8749" y="1021520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5324C54-B75E-4AC0-90C2-FA558C7716F7}"/>
              </a:ext>
            </a:extLst>
          </p:cNvPr>
          <p:cNvSpPr/>
          <p:nvPr/>
        </p:nvSpPr>
        <p:spPr>
          <a:xfrm>
            <a:off x="489112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CAA95478-C099-485F-AD95-A617656C6C7C}"/>
              </a:ext>
            </a:extLst>
          </p:cNvPr>
          <p:cNvSpPr/>
          <p:nvPr/>
        </p:nvSpPr>
        <p:spPr>
          <a:xfrm>
            <a:off x="774294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D65680A1-86D1-44C2-AA38-0DF5735F1F26}"/>
              </a:ext>
            </a:extLst>
          </p:cNvPr>
          <p:cNvSpPr/>
          <p:nvPr/>
        </p:nvSpPr>
        <p:spPr>
          <a:xfrm>
            <a:off x="1059359" y="4021756"/>
            <a:ext cx="151568" cy="151647"/>
          </a:xfrm>
          <a:custGeom>
            <a:avLst/>
            <a:gdLst>
              <a:gd name="connsiteX0" fmla="*/ 8749 w 151647"/>
              <a:gd name="connsiteY0" fmla="*/ 8749 h 151647"/>
              <a:gd name="connsiteX1" fmla="*/ 151414 w 151647"/>
              <a:gd name="connsiteY1" fmla="*/ 8749 h 151647"/>
              <a:gd name="connsiteX2" fmla="*/ 151414 w 151647"/>
              <a:gd name="connsiteY2" fmla="*/ 151414 h 151647"/>
              <a:gd name="connsiteX3" fmla="*/ 8749 w 151647"/>
              <a:gd name="connsiteY3" fmla="*/ 151414 h 15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1647" h="151647">
                <a:moveTo>
                  <a:pt x="8749" y="8749"/>
                </a:moveTo>
                <a:lnTo>
                  <a:pt x="151414" y="8749"/>
                </a:lnTo>
                <a:lnTo>
                  <a:pt x="151414" y="151414"/>
                </a:lnTo>
                <a:lnTo>
                  <a:pt x="8749" y="151414"/>
                </a:lnTo>
                <a:close/>
              </a:path>
            </a:pathLst>
          </a:custGeom>
          <a:solidFill>
            <a:schemeClr val="tx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799" dirty="0"/>
          </a:p>
        </p:txBody>
      </p:sp>
      <p:grpSp>
        <p:nvGrpSpPr>
          <p:cNvPr id="76" name="Group 4">
            <a:extLst>
              <a:ext uri="{FF2B5EF4-FFF2-40B4-BE49-F238E27FC236}">
                <a16:creationId xmlns:a16="http://schemas.microsoft.com/office/drawing/2014/main" id="{9D60B6B0-F7ED-4B9F-A77C-632AC4EA661D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77" name="Freeform 5">
              <a:extLst>
                <a:ext uri="{FF2B5EF4-FFF2-40B4-BE49-F238E27FC236}">
                  <a16:creationId xmlns:a16="http://schemas.microsoft.com/office/drawing/2014/main" id="{CC1B45B9-64DF-4C5B-9711-FA69AD537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78" name="Freeform 6">
              <a:extLst>
                <a:ext uri="{FF2B5EF4-FFF2-40B4-BE49-F238E27FC236}">
                  <a16:creationId xmlns:a16="http://schemas.microsoft.com/office/drawing/2014/main" id="{BA55CB73-EE25-43B6-9720-855E16C4B1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24488950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CDE954B-B280-441B-9B2D-3DC58AAE3926}"/>
              </a:ext>
            </a:extLst>
          </p:cNvPr>
          <p:cNvGrpSpPr/>
          <p:nvPr/>
        </p:nvGrpSpPr>
        <p:grpSpPr>
          <a:xfrm>
            <a:off x="497856" y="5826613"/>
            <a:ext cx="3876004" cy="570195"/>
            <a:chOff x="498115" y="5951018"/>
            <a:chExt cx="3878023" cy="570195"/>
          </a:xfrm>
        </p:grpSpPr>
        <p:sp>
          <p:nvSpPr>
            <p:cNvPr id="187" name="Rectangle 186">
              <a:extLst>
                <a:ext uri="{FF2B5EF4-FFF2-40B4-BE49-F238E27FC236}">
                  <a16:creationId xmlns:a16="http://schemas.microsoft.com/office/drawing/2014/main" id="{93D8FAC8-9530-49D4-8284-D35D1B1509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15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8" name="Rectangle 6">
              <a:extLst>
                <a:ext uri="{FF2B5EF4-FFF2-40B4-BE49-F238E27FC236}">
                  <a16:creationId xmlns:a16="http://schemas.microsoft.com/office/drawing/2014/main" id="{FD924F44-93C1-4254-B594-53DB14FD99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341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89" name="Rectangle 7">
              <a:extLst>
                <a:ext uri="{FF2B5EF4-FFF2-40B4-BE49-F238E27FC236}">
                  <a16:creationId xmlns:a16="http://schemas.microsoft.com/office/drawing/2014/main" id="{2A2DA425-7935-45A1-B63F-2D14CF8D5F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90451" y="5951018"/>
              <a:ext cx="99392" cy="976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90" name="Freeform 8">
              <a:extLst>
                <a:ext uri="{FF2B5EF4-FFF2-40B4-BE49-F238E27FC236}">
                  <a16:creationId xmlns:a16="http://schemas.microsoft.com/office/drawing/2014/main" id="{91EFF75E-13E7-4E35-B108-D9FD5E9C8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181188"/>
              <a:ext cx="94161" cy="130778"/>
            </a:xfrm>
            <a:custGeom>
              <a:avLst/>
              <a:gdLst>
                <a:gd name="T0" fmla="*/ 32 w 54"/>
                <a:gd name="T1" fmla="*/ 11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1 h 75"/>
                <a:gd name="T8" fmla="*/ 0 w 54"/>
                <a:gd name="T9" fmla="*/ 11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1 h 75"/>
                <a:gd name="T16" fmla="*/ 32 w 54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1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1"/>
                  </a:lnTo>
                  <a:lnTo>
                    <a:pt x="32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1" name="Freeform 9">
              <a:extLst>
                <a:ext uri="{FF2B5EF4-FFF2-40B4-BE49-F238E27FC236}">
                  <a16:creationId xmlns:a16="http://schemas.microsoft.com/office/drawing/2014/main" id="{4411951F-E009-4FE7-B2EC-47771CA8E1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174213"/>
              <a:ext cx="78468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2" name="Freeform 10">
              <a:extLst>
                <a:ext uri="{FF2B5EF4-FFF2-40B4-BE49-F238E27FC236}">
                  <a16:creationId xmlns:a16="http://schemas.microsoft.com/office/drawing/2014/main" id="{B28EE49C-5F5A-49C6-AEB8-6D12DDF344E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3" name="Freeform 11">
              <a:extLst>
                <a:ext uri="{FF2B5EF4-FFF2-40B4-BE49-F238E27FC236}">
                  <a16:creationId xmlns:a16="http://schemas.microsoft.com/office/drawing/2014/main" id="{6E2B7D76-D660-491F-8B04-169C6F138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174213"/>
              <a:ext cx="83698" cy="139497"/>
            </a:xfrm>
            <a:custGeom>
              <a:avLst/>
              <a:gdLst>
                <a:gd name="T0" fmla="*/ 33 w 33"/>
                <a:gd name="T1" fmla="*/ 35 h 55"/>
                <a:gd name="T2" fmla="*/ 31 w 33"/>
                <a:gd name="T3" fmla="*/ 44 h 55"/>
                <a:gd name="T4" fmla="*/ 28 w 33"/>
                <a:gd name="T5" fmla="*/ 50 h 55"/>
                <a:gd name="T6" fmla="*/ 23 w 33"/>
                <a:gd name="T7" fmla="*/ 53 h 55"/>
                <a:gd name="T8" fmla="*/ 17 w 33"/>
                <a:gd name="T9" fmla="*/ 55 h 55"/>
                <a:gd name="T10" fmla="*/ 12 w 33"/>
                <a:gd name="T11" fmla="*/ 53 h 55"/>
                <a:gd name="T12" fmla="*/ 8 w 33"/>
                <a:gd name="T13" fmla="*/ 50 h 55"/>
                <a:gd name="T14" fmla="*/ 8 w 33"/>
                <a:gd name="T15" fmla="*/ 54 h 55"/>
                <a:gd name="T16" fmla="*/ 0 w 33"/>
                <a:gd name="T17" fmla="*/ 54 h 55"/>
                <a:gd name="T18" fmla="*/ 0 w 33"/>
                <a:gd name="T19" fmla="*/ 4 h 55"/>
                <a:gd name="T20" fmla="*/ 8 w 33"/>
                <a:gd name="T21" fmla="*/ 0 h 55"/>
                <a:gd name="T22" fmla="*/ 8 w 33"/>
                <a:gd name="T23" fmla="*/ 19 h 55"/>
                <a:gd name="T24" fmla="*/ 10 w 33"/>
                <a:gd name="T25" fmla="*/ 17 h 55"/>
                <a:gd name="T26" fmla="*/ 12 w 33"/>
                <a:gd name="T27" fmla="*/ 16 h 55"/>
                <a:gd name="T28" fmla="*/ 14 w 33"/>
                <a:gd name="T29" fmla="*/ 15 h 55"/>
                <a:gd name="T30" fmla="*/ 18 w 33"/>
                <a:gd name="T31" fmla="*/ 15 h 55"/>
                <a:gd name="T32" fmla="*/ 24 w 33"/>
                <a:gd name="T33" fmla="*/ 16 h 55"/>
                <a:gd name="T34" fmla="*/ 28 w 33"/>
                <a:gd name="T35" fmla="*/ 19 h 55"/>
                <a:gd name="T36" fmla="*/ 31 w 33"/>
                <a:gd name="T37" fmla="*/ 26 h 55"/>
                <a:gd name="T38" fmla="*/ 33 w 33"/>
                <a:gd name="T39" fmla="*/ 35 h 55"/>
                <a:gd name="T40" fmla="*/ 25 w 33"/>
                <a:gd name="T41" fmla="*/ 35 h 55"/>
                <a:gd name="T42" fmla="*/ 23 w 33"/>
                <a:gd name="T43" fmla="*/ 25 h 55"/>
                <a:gd name="T44" fmla="*/ 16 w 33"/>
                <a:gd name="T45" fmla="*/ 22 h 55"/>
                <a:gd name="T46" fmla="*/ 14 w 33"/>
                <a:gd name="T47" fmla="*/ 22 h 55"/>
                <a:gd name="T48" fmla="*/ 11 w 33"/>
                <a:gd name="T49" fmla="*/ 23 h 55"/>
                <a:gd name="T50" fmla="*/ 9 w 33"/>
                <a:gd name="T51" fmla="*/ 25 h 55"/>
                <a:gd name="T52" fmla="*/ 8 w 33"/>
                <a:gd name="T53" fmla="*/ 26 h 55"/>
                <a:gd name="T54" fmla="*/ 8 w 33"/>
                <a:gd name="T55" fmla="*/ 43 h 55"/>
                <a:gd name="T56" fmla="*/ 9 w 33"/>
                <a:gd name="T57" fmla="*/ 44 h 55"/>
                <a:gd name="T58" fmla="*/ 11 w 33"/>
                <a:gd name="T59" fmla="*/ 46 h 55"/>
                <a:gd name="T60" fmla="*/ 14 w 33"/>
                <a:gd name="T61" fmla="*/ 47 h 55"/>
                <a:gd name="T62" fmla="*/ 17 w 33"/>
                <a:gd name="T63" fmla="*/ 48 h 55"/>
                <a:gd name="T64" fmla="*/ 23 w 33"/>
                <a:gd name="T65" fmla="*/ 45 h 55"/>
                <a:gd name="T66" fmla="*/ 25 w 33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5">
                  <a:moveTo>
                    <a:pt x="33" y="35"/>
                  </a:moveTo>
                  <a:cubicBezTo>
                    <a:pt x="33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7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6" y="55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8"/>
                    <a:pt x="10" y="17"/>
                  </a:cubicBezTo>
                  <a:cubicBezTo>
                    <a:pt x="11" y="17"/>
                    <a:pt x="11" y="16"/>
                    <a:pt x="12" y="16"/>
                  </a:cubicBezTo>
                  <a:cubicBezTo>
                    <a:pt x="13" y="16"/>
                    <a:pt x="13" y="15"/>
                    <a:pt x="14" y="15"/>
                  </a:cubicBezTo>
                  <a:cubicBezTo>
                    <a:pt x="15" y="15"/>
                    <a:pt x="16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30" y="21"/>
                    <a:pt x="31" y="23"/>
                    <a:pt x="31" y="26"/>
                  </a:cubicBezTo>
                  <a:cubicBezTo>
                    <a:pt x="32" y="28"/>
                    <a:pt x="33" y="32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5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1" y="23"/>
                    <a:pt x="10" y="24"/>
                    <a:pt x="9" y="25"/>
                  </a:cubicBezTo>
                  <a:cubicBezTo>
                    <a:pt x="9" y="25"/>
                    <a:pt x="8" y="26"/>
                    <a:pt x="8" y="26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4"/>
                    <a:pt x="9" y="44"/>
                  </a:cubicBezTo>
                  <a:cubicBezTo>
                    <a:pt x="10" y="45"/>
                    <a:pt x="11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6" y="48"/>
                    <a:pt x="17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4" name="Freeform 12">
              <a:extLst>
                <a:ext uri="{FF2B5EF4-FFF2-40B4-BE49-F238E27FC236}">
                  <a16:creationId xmlns:a16="http://schemas.microsoft.com/office/drawing/2014/main" id="{41BE51DE-402B-48B5-99C8-D8BB9A32DF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5" name="Freeform 13">
              <a:extLst>
                <a:ext uri="{FF2B5EF4-FFF2-40B4-BE49-F238E27FC236}">
                  <a16:creationId xmlns:a16="http://schemas.microsoft.com/office/drawing/2014/main" id="{8D5E878B-8859-44FA-A69D-DCE630AAB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1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2" y="54"/>
                    <a:pt x="11" y="54"/>
                  </a:cubicBezTo>
                  <a:cubicBezTo>
                    <a:pt x="10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2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6" name="Freeform 14">
              <a:extLst>
                <a:ext uri="{FF2B5EF4-FFF2-40B4-BE49-F238E27FC236}">
                  <a16:creationId xmlns:a16="http://schemas.microsoft.com/office/drawing/2014/main" id="{08D55808-ECDC-4E9B-84ED-7301E9E71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7" name="Freeform 15">
              <a:extLst>
                <a:ext uri="{FF2B5EF4-FFF2-40B4-BE49-F238E27FC236}">
                  <a16:creationId xmlns:a16="http://schemas.microsoft.com/office/drawing/2014/main" id="{3436B310-313E-4A53-A70D-CA0D0D97FE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0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0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2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2" y="21"/>
                    <a:pt x="32" y="22"/>
                    <a:pt x="32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0" y="32"/>
                    <a:pt x="21" y="32"/>
                  </a:cubicBezTo>
                  <a:cubicBezTo>
                    <a:pt x="22" y="32"/>
                    <a:pt x="22" y="31"/>
                    <a:pt x="23" y="31"/>
                  </a:cubicBezTo>
                  <a:cubicBezTo>
                    <a:pt x="23" y="31"/>
                    <a:pt x="24" y="30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0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6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3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7" y="6"/>
                    <a:pt x="16" y="6"/>
                  </a:cubicBezTo>
                  <a:cubicBezTo>
                    <a:pt x="15" y="6"/>
                    <a:pt x="13" y="7"/>
                    <a:pt x="12" y="7"/>
                  </a:cubicBezTo>
                  <a:cubicBezTo>
                    <a:pt x="11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8" name="Freeform 16">
              <a:extLst>
                <a:ext uri="{FF2B5EF4-FFF2-40B4-BE49-F238E27FC236}">
                  <a16:creationId xmlns:a16="http://schemas.microsoft.com/office/drawing/2014/main" id="{F3CE55A9-AE55-4169-A58D-8171D9916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212575"/>
              <a:ext cx="55799" cy="99391"/>
            </a:xfrm>
            <a:custGeom>
              <a:avLst/>
              <a:gdLst>
                <a:gd name="T0" fmla="*/ 20 w 22"/>
                <a:gd name="T1" fmla="*/ 8 h 39"/>
                <a:gd name="T2" fmla="*/ 18 w 22"/>
                <a:gd name="T3" fmla="*/ 7 h 39"/>
                <a:gd name="T4" fmla="*/ 15 w 22"/>
                <a:gd name="T5" fmla="*/ 7 h 39"/>
                <a:gd name="T6" fmla="*/ 9 w 22"/>
                <a:gd name="T7" fmla="*/ 9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0 h 39"/>
                <a:gd name="T16" fmla="*/ 7 w 22"/>
                <a:gd name="T17" fmla="*/ 0 h 39"/>
                <a:gd name="T18" fmla="*/ 7 w 22"/>
                <a:gd name="T19" fmla="*/ 4 h 39"/>
                <a:gd name="T20" fmla="*/ 9 w 22"/>
                <a:gd name="T21" fmla="*/ 2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0 h 39"/>
                <a:gd name="T30" fmla="*/ 22 w 22"/>
                <a:gd name="T31" fmla="*/ 1 h 39"/>
                <a:gd name="T32" fmla="*/ 20 w 22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2" y="7"/>
                    <a:pt x="10" y="8"/>
                    <a:pt x="9" y="9"/>
                  </a:cubicBezTo>
                  <a:cubicBezTo>
                    <a:pt x="8" y="11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9" y="2"/>
                    <a:pt x="10" y="1"/>
                    <a:pt x="11" y="1"/>
                  </a:cubicBezTo>
                  <a:cubicBezTo>
                    <a:pt x="11" y="0"/>
                    <a:pt x="12" y="0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0"/>
                  </a:cubicBezTo>
                  <a:cubicBezTo>
                    <a:pt x="21" y="0"/>
                    <a:pt x="22" y="1"/>
                    <a:pt x="22" y="1"/>
                  </a:cubicBezTo>
                  <a:lnTo>
                    <a:pt x="20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199" name="Freeform 17">
              <a:extLst>
                <a:ext uri="{FF2B5EF4-FFF2-40B4-BE49-F238E27FC236}">
                  <a16:creationId xmlns:a16="http://schemas.microsoft.com/office/drawing/2014/main" id="{FA01BC48-4605-46FC-A7AC-192C7DBCA0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3 w 22"/>
                <a:gd name="T25" fmla="*/ 0 h 55"/>
                <a:gd name="T26" fmla="*/ 13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3 w 22"/>
                <a:gd name="T33" fmla="*/ 22 h 55"/>
                <a:gd name="T34" fmla="*/ 13 w 22"/>
                <a:gd name="T35" fmla="*/ 43 h 55"/>
                <a:gd name="T36" fmla="*/ 13 w 22"/>
                <a:gd name="T37" fmla="*/ 45 h 55"/>
                <a:gd name="T38" fmla="*/ 14 w 22"/>
                <a:gd name="T39" fmla="*/ 47 h 55"/>
                <a:gd name="T40" fmla="*/ 15 w 22"/>
                <a:gd name="T41" fmla="*/ 47 h 55"/>
                <a:gd name="T42" fmla="*/ 17 w 22"/>
                <a:gd name="T43" fmla="*/ 48 h 55"/>
                <a:gd name="T44" fmla="*/ 20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3" y="55"/>
                    <a:pt x="11" y="54"/>
                    <a:pt x="10" y="54"/>
                  </a:cubicBezTo>
                  <a:cubicBezTo>
                    <a:pt x="9" y="54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5"/>
                    <a:pt x="13" y="45"/>
                  </a:cubicBezTo>
                  <a:cubicBezTo>
                    <a:pt x="13" y="46"/>
                    <a:pt x="13" y="46"/>
                    <a:pt x="14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7" y="48"/>
                  </a:cubicBezTo>
                  <a:cubicBezTo>
                    <a:pt x="18" y="48"/>
                    <a:pt x="19" y="48"/>
                    <a:pt x="20" y="47"/>
                  </a:cubicBezTo>
                  <a:cubicBezTo>
                    <a:pt x="21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0" name="Freeform 18">
              <a:extLst>
                <a:ext uri="{FF2B5EF4-FFF2-40B4-BE49-F238E27FC236}">
                  <a16:creationId xmlns:a16="http://schemas.microsoft.com/office/drawing/2014/main" id="{870190F3-472B-4296-B88D-D6904B9F30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2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8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9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1" name="Freeform 19">
              <a:extLst>
                <a:ext uri="{FF2B5EF4-FFF2-40B4-BE49-F238E27FC236}">
                  <a16:creationId xmlns:a16="http://schemas.microsoft.com/office/drawing/2014/main" id="{6CEA0F2B-4AAB-4A16-B7F1-CFCB0C0DC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2" name="Freeform 20">
              <a:extLst>
                <a:ext uri="{FF2B5EF4-FFF2-40B4-BE49-F238E27FC236}">
                  <a16:creationId xmlns:a16="http://schemas.microsoft.com/office/drawing/2014/main" id="{CD64F657-7EE7-4AF2-ADE4-160C87E64D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30922" y="6212575"/>
              <a:ext cx="80211" cy="134265"/>
            </a:xfrm>
            <a:custGeom>
              <a:avLst/>
              <a:gdLst>
                <a:gd name="T0" fmla="*/ 25 w 32"/>
                <a:gd name="T1" fmla="*/ 53 h 53"/>
                <a:gd name="T2" fmla="*/ 25 w 32"/>
                <a:gd name="T3" fmla="*/ 35 h 53"/>
                <a:gd name="T4" fmla="*/ 20 w 32"/>
                <a:gd name="T5" fmla="*/ 38 h 53"/>
                <a:gd name="T6" fmla="*/ 15 w 32"/>
                <a:gd name="T7" fmla="*/ 40 h 53"/>
                <a:gd name="T8" fmla="*/ 9 w 32"/>
                <a:gd name="T9" fmla="*/ 38 h 53"/>
                <a:gd name="T10" fmla="*/ 4 w 32"/>
                <a:gd name="T11" fmla="*/ 35 h 53"/>
                <a:gd name="T12" fmla="*/ 1 w 32"/>
                <a:gd name="T13" fmla="*/ 28 h 53"/>
                <a:gd name="T14" fmla="*/ 0 w 32"/>
                <a:gd name="T15" fmla="*/ 19 h 53"/>
                <a:gd name="T16" fmla="*/ 1 w 32"/>
                <a:gd name="T17" fmla="*/ 10 h 53"/>
                <a:gd name="T18" fmla="*/ 4 w 32"/>
                <a:gd name="T19" fmla="*/ 4 h 53"/>
                <a:gd name="T20" fmla="*/ 9 w 32"/>
                <a:gd name="T21" fmla="*/ 1 h 53"/>
                <a:gd name="T22" fmla="*/ 15 w 32"/>
                <a:gd name="T23" fmla="*/ 0 h 53"/>
                <a:gd name="T24" fmla="*/ 18 w 32"/>
                <a:gd name="T25" fmla="*/ 0 h 53"/>
                <a:gd name="T26" fmla="*/ 20 w 32"/>
                <a:gd name="T27" fmla="*/ 1 h 53"/>
                <a:gd name="T28" fmla="*/ 23 w 32"/>
                <a:gd name="T29" fmla="*/ 2 h 53"/>
                <a:gd name="T30" fmla="*/ 25 w 32"/>
                <a:gd name="T31" fmla="*/ 4 h 53"/>
                <a:gd name="T32" fmla="*/ 25 w 32"/>
                <a:gd name="T33" fmla="*/ 0 h 53"/>
                <a:gd name="T34" fmla="*/ 32 w 32"/>
                <a:gd name="T35" fmla="*/ 0 h 53"/>
                <a:gd name="T36" fmla="*/ 32 w 32"/>
                <a:gd name="T37" fmla="*/ 49 h 53"/>
                <a:gd name="T38" fmla="*/ 25 w 32"/>
                <a:gd name="T39" fmla="*/ 53 h 53"/>
                <a:gd name="T40" fmla="*/ 25 w 32"/>
                <a:gd name="T41" fmla="*/ 12 h 53"/>
                <a:gd name="T42" fmla="*/ 23 w 32"/>
                <a:gd name="T43" fmla="*/ 10 h 53"/>
                <a:gd name="T44" fmla="*/ 21 w 32"/>
                <a:gd name="T45" fmla="*/ 8 h 53"/>
                <a:gd name="T46" fmla="*/ 18 w 32"/>
                <a:gd name="T47" fmla="*/ 7 h 53"/>
                <a:gd name="T48" fmla="*/ 16 w 32"/>
                <a:gd name="T49" fmla="*/ 7 h 53"/>
                <a:gd name="T50" fmla="*/ 9 w 32"/>
                <a:gd name="T51" fmla="*/ 10 h 53"/>
                <a:gd name="T52" fmla="*/ 7 w 32"/>
                <a:gd name="T53" fmla="*/ 19 h 53"/>
                <a:gd name="T54" fmla="*/ 10 w 32"/>
                <a:gd name="T55" fmla="*/ 29 h 53"/>
                <a:gd name="T56" fmla="*/ 16 w 32"/>
                <a:gd name="T57" fmla="*/ 33 h 53"/>
                <a:gd name="T58" fmla="*/ 21 w 32"/>
                <a:gd name="T59" fmla="*/ 31 h 53"/>
                <a:gd name="T60" fmla="*/ 25 w 32"/>
                <a:gd name="T61" fmla="*/ 28 h 53"/>
                <a:gd name="T62" fmla="*/ 25 w 32"/>
                <a:gd name="T63" fmla="*/ 1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" h="53">
                  <a:moveTo>
                    <a:pt x="25" y="53"/>
                  </a:moveTo>
                  <a:cubicBezTo>
                    <a:pt x="25" y="35"/>
                    <a:pt x="25" y="35"/>
                    <a:pt x="25" y="35"/>
                  </a:cubicBezTo>
                  <a:cubicBezTo>
                    <a:pt x="23" y="36"/>
                    <a:pt x="22" y="37"/>
                    <a:pt x="20" y="38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3" y="40"/>
                    <a:pt x="11" y="39"/>
                    <a:pt x="9" y="38"/>
                  </a:cubicBezTo>
                  <a:cubicBezTo>
                    <a:pt x="7" y="38"/>
                    <a:pt x="5" y="36"/>
                    <a:pt x="4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0" y="26"/>
                    <a:pt x="0" y="23"/>
                    <a:pt x="0" y="19"/>
                  </a:cubicBezTo>
                  <a:cubicBezTo>
                    <a:pt x="0" y="16"/>
                    <a:pt x="0" y="13"/>
                    <a:pt x="1" y="10"/>
                  </a:cubicBezTo>
                  <a:cubicBezTo>
                    <a:pt x="2" y="8"/>
                    <a:pt x="3" y="6"/>
                    <a:pt x="4" y="4"/>
                  </a:cubicBezTo>
                  <a:cubicBezTo>
                    <a:pt x="6" y="3"/>
                    <a:pt x="7" y="2"/>
                    <a:pt x="9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6" y="0"/>
                    <a:pt x="17" y="0"/>
                    <a:pt x="18" y="0"/>
                  </a:cubicBezTo>
                  <a:cubicBezTo>
                    <a:pt x="19" y="0"/>
                    <a:pt x="20" y="0"/>
                    <a:pt x="20" y="1"/>
                  </a:cubicBezTo>
                  <a:cubicBezTo>
                    <a:pt x="21" y="1"/>
                    <a:pt x="22" y="2"/>
                    <a:pt x="23" y="2"/>
                  </a:cubicBezTo>
                  <a:cubicBezTo>
                    <a:pt x="23" y="3"/>
                    <a:pt x="24" y="3"/>
                    <a:pt x="25" y="4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49"/>
                    <a:pt x="32" y="49"/>
                    <a:pt x="32" y="49"/>
                  </a:cubicBezTo>
                  <a:lnTo>
                    <a:pt x="25" y="53"/>
                  </a:lnTo>
                  <a:close/>
                  <a:moveTo>
                    <a:pt x="25" y="12"/>
                  </a:moveTo>
                  <a:cubicBezTo>
                    <a:pt x="24" y="11"/>
                    <a:pt x="24" y="10"/>
                    <a:pt x="23" y="10"/>
                  </a:cubicBezTo>
                  <a:cubicBezTo>
                    <a:pt x="23" y="9"/>
                    <a:pt x="22" y="9"/>
                    <a:pt x="21" y="8"/>
                  </a:cubicBezTo>
                  <a:cubicBezTo>
                    <a:pt x="20" y="8"/>
                    <a:pt x="19" y="7"/>
                    <a:pt x="18" y="7"/>
                  </a:cubicBezTo>
                  <a:cubicBezTo>
                    <a:pt x="18" y="7"/>
                    <a:pt x="17" y="7"/>
                    <a:pt x="16" y="7"/>
                  </a:cubicBezTo>
                  <a:cubicBezTo>
                    <a:pt x="13" y="7"/>
                    <a:pt x="11" y="8"/>
                    <a:pt x="9" y="10"/>
                  </a:cubicBezTo>
                  <a:cubicBezTo>
                    <a:pt x="8" y="12"/>
                    <a:pt x="7" y="15"/>
                    <a:pt x="7" y="19"/>
                  </a:cubicBezTo>
                  <a:cubicBezTo>
                    <a:pt x="7" y="23"/>
                    <a:pt x="8" y="27"/>
                    <a:pt x="10" y="29"/>
                  </a:cubicBezTo>
                  <a:cubicBezTo>
                    <a:pt x="11" y="31"/>
                    <a:pt x="13" y="33"/>
                    <a:pt x="16" y="33"/>
                  </a:cubicBezTo>
                  <a:cubicBezTo>
                    <a:pt x="18" y="33"/>
                    <a:pt x="19" y="32"/>
                    <a:pt x="21" y="31"/>
                  </a:cubicBezTo>
                  <a:cubicBezTo>
                    <a:pt x="22" y="30"/>
                    <a:pt x="24" y="29"/>
                    <a:pt x="25" y="28"/>
                  </a:cubicBezTo>
                  <a:lnTo>
                    <a:pt x="25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3" name="Freeform 21">
              <a:extLst>
                <a:ext uri="{FF2B5EF4-FFF2-40B4-BE49-F238E27FC236}">
                  <a16:creationId xmlns:a16="http://schemas.microsoft.com/office/drawing/2014/main" id="{FA80A690-9084-4519-8D88-A01963C023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5545" y="6212575"/>
              <a:ext cx="78468" cy="101135"/>
            </a:xfrm>
            <a:custGeom>
              <a:avLst/>
              <a:gdLst>
                <a:gd name="T0" fmla="*/ 24 w 31"/>
                <a:gd name="T1" fmla="*/ 39 h 40"/>
                <a:gd name="T2" fmla="*/ 24 w 31"/>
                <a:gd name="T3" fmla="*/ 35 h 40"/>
                <a:gd name="T4" fmla="*/ 20 w 31"/>
                <a:gd name="T5" fmla="*/ 38 h 40"/>
                <a:gd name="T6" fmla="*/ 14 w 31"/>
                <a:gd name="T7" fmla="*/ 40 h 40"/>
                <a:gd name="T8" fmla="*/ 4 w 31"/>
                <a:gd name="T9" fmla="*/ 35 h 40"/>
                <a:gd name="T10" fmla="*/ 0 w 31"/>
                <a:gd name="T11" fmla="*/ 22 h 40"/>
                <a:gd name="T12" fmla="*/ 0 w 31"/>
                <a:gd name="T13" fmla="*/ 0 h 40"/>
                <a:gd name="T14" fmla="*/ 8 w 31"/>
                <a:gd name="T15" fmla="*/ 0 h 40"/>
                <a:gd name="T16" fmla="*/ 8 w 31"/>
                <a:gd name="T17" fmla="*/ 22 h 40"/>
                <a:gd name="T18" fmla="*/ 10 w 31"/>
                <a:gd name="T19" fmla="*/ 30 h 40"/>
                <a:gd name="T20" fmla="*/ 16 w 31"/>
                <a:gd name="T21" fmla="*/ 33 h 40"/>
                <a:gd name="T22" fmla="*/ 22 w 31"/>
                <a:gd name="T23" fmla="*/ 30 h 40"/>
                <a:gd name="T24" fmla="*/ 24 w 31"/>
                <a:gd name="T25" fmla="*/ 23 h 40"/>
                <a:gd name="T26" fmla="*/ 24 w 31"/>
                <a:gd name="T27" fmla="*/ 0 h 40"/>
                <a:gd name="T28" fmla="*/ 31 w 31"/>
                <a:gd name="T29" fmla="*/ 0 h 40"/>
                <a:gd name="T30" fmla="*/ 31 w 31"/>
                <a:gd name="T31" fmla="*/ 39 h 40"/>
                <a:gd name="T32" fmla="*/ 24 w 31"/>
                <a:gd name="T33" fmla="*/ 3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2" y="38"/>
                    <a:pt x="20" y="38"/>
                  </a:cubicBezTo>
                  <a:cubicBezTo>
                    <a:pt x="18" y="39"/>
                    <a:pt x="16" y="40"/>
                    <a:pt x="14" y="40"/>
                  </a:cubicBezTo>
                  <a:cubicBezTo>
                    <a:pt x="10" y="40"/>
                    <a:pt x="6" y="38"/>
                    <a:pt x="4" y="35"/>
                  </a:cubicBezTo>
                  <a:cubicBezTo>
                    <a:pt x="2" y="32"/>
                    <a:pt x="0" y="28"/>
                    <a:pt x="0" y="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6"/>
                    <a:pt x="9" y="28"/>
                    <a:pt x="10" y="30"/>
                  </a:cubicBezTo>
                  <a:cubicBezTo>
                    <a:pt x="11" y="32"/>
                    <a:pt x="13" y="33"/>
                    <a:pt x="16" y="33"/>
                  </a:cubicBezTo>
                  <a:cubicBezTo>
                    <a:pt x="18" y="33"/>
                    <a:pt x="20" y="32"/>
                    <a:pt x="22" y="30"/>
                  </a:cubicBezTo>
                  <a:cubicBezTo>
                    <a:pt x="23" y="28"/>
                    <a:pt x="24" y="26"/>
                    <a:pt x="24" y="23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4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4" name="Freeform 22">
              <a:extLst>
                <a:ext uri="{FF2B5EF4-FFF2-40B4-BE49-F238E27FC236}">
                  <a16:creationId xmlns:a16="http://schemas.microsoft.com/office/drawing/2014/main" id="{E847401D-2482-482A-AC12-D2E83C13546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4936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1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2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5" name="Freeform 23">
              <a:extLst>
                <a:ext uri="{FF2B5EF4-FFF2-40B4-BE49-F238E27FC236}">
                  <a16:creationId xmlns:a16="http://schemas.microsoft.com/office/drawing/2014/main" id="{86054F72-4509-4465-B9A8-8DAE3EFD35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30841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1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4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7 w 29"/>
                <a:gd name="T55" fmla="*/ 24 h 40"/>
                <a:gd name="T56" fmla="*/ 13 w 29"/>
                <a:gd name="T57" fmla="*/ 22 h 40"/>
                <a:gd name="T58" fmla="*/ 8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2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3" y="6"/>
                    <a:pt x="11" y="7"/>
                    <a:pt x="10" y="7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4" y="29"/>
                    <a:pt x="4" y="29"/>
                    <a:pt x="4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9" y="25"/>
                    <a:pt x="18" y="24"/>
                    <a:pt x="17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8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3" y="15"/>
                    <a:pt x="2" y="14"/>
                  </a:cubicBezTo>
                  <a:cubicBezTo>
                    <a:pt x="2" y="13"/>
                    <a:pt x="2" y="12"/>
                    <a:pt x="2" y="10"/>
                  </a:cubicBezTo>
                  <a:cubicBezTo>
                    <a:pt x="2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6" name="Freeform 24">
              <a:extLst>
                <a:ext uri="{FF2B5EF4-FFF2-40B4-BE49-F238E27FC236}">
                  <a16:creationId xmlns:a16="http://schemas.microsoft.com/office/drawing/2014/main" id="{813850E4-4B62-4FDA-ABD6-F5A5AA5E7C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8027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7" name="Freeform 25">
              <a:extLst>
                <a:ext uri="{FF2B5EF4-FFF2-40B4-BE49-F238E27FC236}">
                  <a16:creationId xmlns:a16="http://schemas.microsoft.com/office/drawing/2014/main" id="{1B4F0124-2FAE-4D54-9ECC-E88A8031BB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94750" y="6175958"/>
              <a:ext cx="24412" cy="136010"/>
            </a:xfrm>
            <a:custGeom>
              <a:avLst/>
              <a:gdLst>
                <a:gd name="T0" fmla="*/ 10 w 10"/>
                <a:gd name="T1" fmla="*/ 5 h 53"/>
                <a:gd name="T2" fmla="*/ 9 w 10"/>
                <a:gd name="T3" fmla="*/ 6 h 53"/>
                <a:gd name="T4" fmla="*/ 8 w 10"/>
                <a:gd name="T5" fmla="*/ 8 h 53"/>
                <a:gd name="T6" fmla="*/ 7 w 10"/>
                <a:gd name="T7" fmla="*/ 9 h 53"/>
                <a:gd name="T8" fmla="*/ 5 w 10"/>
                <a:gd name="T9" fmla="*/ 9 h 53"/>
                <a:gd name="T10" fmla="*/ 3 w 10"/>
                <a:gd name="T11" fmla="*/ 9 h 53"/>
                <a:gd name="T12" fmla="*/ 1 w 10"/>
                <a:gd name="T13" fmla="*/ 8 h 53"/>
                <a:gd name="T14" fmla="*/ 0 w 10"/>
                <a:gd name="T15" fmla="*/ 6 h 53"/>
                <a:gd name="T16" fmla="*/ 0 w 10"/>
                <a:gd name="T17" fmla="*/ 5 h 53"/>
                <a:gd name="T18" fmla="*/ 0 w 10"/>
                <a:gd name="T19" fmla="*/ 3 h 53"/>
                <a:gd name="T20" fmla="*/ 1 w 10"/>
                <a:gd name="T21" fmla="*/ 1 h 53"/>
                <a:gd name="T22" fmla="*/ 3 w 10"/>
                <a:gd name="T23" fmla="*/ 0 h 53"/>
                <a:gd name="T24" fmla="*/ 5 w 10"/>
                <a:gd name="T25" fmla="*/ 0 h 53"/>
                <a:gd name="T26" fmla="*/ 7 w 10"/>
                <a:gd name="T27" fmla="*/ 0 h 53"/>
                <a:gd name="T28" fmla="*/ 8 w 10"/>
                <a:gd name="T29" fmla="*/ 1 h 53"/>
                <a:gd name="T30" fmla="*/ 9 w 10"/>
                <a:gd name="T31" fmla="*/ 3 h 53"/>
                <a:gd name="T32" fmla="*/ 10 w 10"/>
                <a:gd name="T33" fmla="*/ 5 h 53"/>
                <a:gd name="T34" fmla="*/ 1 w 10"/>
                <a:gd name="T35" fmla="*/ 53 h 53"/>
                <a:gd name="T36" fmla="*/ 1 w 10"/>
                <a:gd name="T37" fmla="*/ 14 h 53"/>
                <a:gd name="T38" fmla="*/ 9 w 10"/>
                <a:gd name="T39" fmla="*/ 14 h 53"/>
                <a:gd name="T40" fmla="*/ 9 w 10"/>
                <a:gd name="T41" fmla="*/ 53 h 53"/>
                <a:gd name="T42" fmla="*/ 1 w 10"/>
                <a:gd name="T4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" h="53">
                  <a:moveTo>
                    <a:pt x="10" y="5"/>
                  </a:moveTo>
                  <a:cubicBezTo>
                    <a:pt x="10" y="5"/>
                    <a:pt x="10" y="6"/>
                    <a:pt x="9" y="6"/>
                  </a:cubicBezTo>
                  <a:cubicBezTo>
                    <a:pt x="9" y="7"/>
                    <a:pt x="9" y="8"/>
                    <a:pt x="8" y="8"/>
                  </a:cubicBezTo>
                  <a:cubicBezTo>
                    <a:pt x="8" y="8"/>
                    <a:pt x="7" y="9"/>
                    <a:pt x="7" y="9"/>
                  </a:cubicBezTo>
                  <a:cubicBezTo>
                    <a:pt x="6" y="9"/>
                    <a:pt x="6" y="9"/>
                    <a:pt x="5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2" y="9"/>
                    <a:pt x="2" y="8"/>
                    <a:pt x="1" y="8"/>
                  </a:cubicBezTo>
                  <a:cubicBezTo>
                    <a:pt x="1" y="8"/>
                    <a:pt x="1" y="7"/>
                    <a:pt x="0" y="6"/>
                  </a:cubicBezTo>
                  <a:cubicBezTo>
                    <a:pt x="0" y="6"/>
                    <a:pt x="0" y="5"/>
                    <a:pt x="0" y="5"/>
                  </a:cubicBezTo>
                  <a:cubicBezTo>
                    <a:pt x="0" y="4"/>
                    <a:pt x="0" y="3"/>
                    <a:pt x="0" y="3"/>
                  </a:cubicBezTo>
                  <a:cubicBezTo>
                    <a:pt x="1" y="2"/>
                    <a:pt x="1" y="2"/>
                    <a:pt x="1" y="1"/>
                  </a:cubicBezTo>
                  <a:cubicBezTo>
                    <a:pt x="2" y="1"/>
                    <a:pt x="2" y="0"/>
                    <a:pt x="3" y="0"/>
                  </a:cubicBezTo>
                  <a:cubicBezTo>
                    <a:pt x="4" y="0"/>
                    <a:pt x="4" y="0"/>
                    <a:pt x="5" y="0"/>
                  </a:cubicBezTo>
                  <a:cubicBezTo>
                    <a:pt x="6" y="0"/>
                    <a:pt x="6" y="0"/>
                    <a:pt x="7" y="0"/>
                  </a:cubicBezTo>
                  <a:cubicBezTo>
                    <a:pt x="7" y="0"/>
                    <a:pt x="8" y="1"/>
                    <a:pt x="8" y="1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10" y="3"/>
                    <a:pt x="10" y="4"/>
                    <a:pt x="10" y="5"/>
                  </a:cubicBezTo>
                  <a:close/>
                  <a:moveTo>
                    <a:pt x="1" y="53"/>
                  </a:moveTo>
                  <a:cubicBezTo>
                    <a:pt x="1" y="14"/>
                    <a:pt x="1" y="14"/>
                    <a:pt x="1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9" y="53"/>
                    <a:pt x="9" y="53"/>
                    <a:pt x="9" y="53"/>
                  </a:cubicBezTo>
                  <a:lnTo>
                    <a:pt x="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8" name="Freeform 26">
              <a:extLst>
                <a:ext uri="{FF2B5EF4-FFF2-40B4-BE49-F238E27FC236}">
                  <a16:creationId xmlns:a16="http://schemas.microsoft.com/office/drawing/2014/main" id="{2A730E5F-DF9C-488E-B4E0-EE9F501529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36599" y="6212575"/>
              <a:ext cx="87186" cy="101135"/>
            </a:xfrm>
            <a:custGeom>
              <a:avLst/>
              <a:gdLst>
                <a:gd name="T0" fmla="*/ 34 w 34"/>
                <a:gd name="T1" fmla="*/ 19 h 40"/>
                <a:gd name="T2" fmla="*/ 33 w 34"/>
                <a:gd name="T3" fmla="*/ 28 h 40"/>
                <a:gd name="T4" fmla="*/ 29 w 34"/>
                <a:gd name="T5" fmla="*/ 34 h 40"/>
                <a:gd name="T6" fmla="*/ 24 w 34"/>
                <a:gd name="T7" fmla="*/ 38 h 40"/>
                <a:gd name="T8" fmla="*/ 17 w 34"/>
                <a:gd name="T9" fmla="*/ 40 h 40"/>
                <a:gd name="T10" fmla="*/ 10 w 34"/>
                <a:gd name="T11" fmla="*/ 38 h 40"/>
                <a:gd name="T12" fmla="*/ 5 w 34"/>
                <a:gd name="T13" fmla="*/ 34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1 h 40"/>
                <a:gd name="T20" fmla="*/ 5 w 34"/>
                <a:gd name="T21" fmla="*/ 5 h 40"/>
                <a:gd name="T22" fmla="*/ 10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1 h 40"/>
                <a:gd name="T32" fmla="*/ 34 w 34"/>
                <a:gd name="T33" fmla="*/ 19 h 40"/>
                <a:gd name="T34" fmla="*/ 26 w 34"/>
                <a:gd name="T35" fmla="*/ 20 h 40"/>
                <a:gd name="T36" fmla="*/ 26 w 34"/>
                <a:gd name="T37" fmla="*/ 14 h 40"/>
                <a:gd name="T38" fmla="*/ 24 w 34"/>
                <a:gd name="T39" fmla="*/ 10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0 h 40"/>
                <a:gd name="T48" fmla="*/ 8 w 34"/>
                <a:gd name="T49" fmla="*/ 14 h 40"/>
                <a:gd name="T50" fmla="*/ 7 w 34"/>
                <a:gd name="T51" fmla="*/ 19 h 40"/>
                <a:gd name="T52" fmla="*/ 8 w 34"/>
                <a:gd name="T53" fmla="*/ 25 h 40"/>
                <a:gd name="T54" fmla="*/ 10 w 34"/>
                <a:gd name="T55" fmla="*/ 29 h 40"/>
                <a:gd name="T56" fmla="*/ 13 w 34"/>
                <a:gd name="T57" fmla="*/ 32 h 40"/>
                <a:gd name="T58" fmla="*/ 17 w 34"/>
                <a:gd name="T59" fmla="*/ 32 h 40"/>
                <a:gd name="T60" fmla="*/ 21 w 34"/>
                <a:gd name="T61" fmla="*/ 31 h 40"/>
                <a:gd name="T62" fmla="*/ 24 w 34"/>
                <a:gd name="T63" fmla="*/ 29 h 40"/>
                <a:gd name="T64" fmla="*/ 26 w 34"/>
                <a:gd name="T65" fmla="*/ 25 h 40"/>
                <a:gd name="T66" fmla="*/ 26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19"/>
                  </a:moveTo>
                  <a:cubicBezTo>
                    <a:pt x="34" y="23"/>
                    <a:pt x="34" y="25"/>
                    <a:pt x="33" y="28"/>
                  </a:cubicBezTo>
                  <a:cubicBezTo>
                    <a:pt x="32" y="30"/>
                    <a:pt x="31" y="33"/>
                    <a:pt x="29" y="34"/>
                  </a:cubicBezTo>
                  <a:cubicBezTo>
                    <a:pt x="28" y="36"/>
                    <a:pt x="26" y="37"/>
                    <a:pt x="24" y="38"/>
                  </a:cubicBezTo>
                  <a:cubicBezTo>
                    <a:pt x="21" y="39"/>
                    <a:pt x="19" y="40"/>
                    <a:pt x="17" y="40"/>
                  </a:cubicBezTo>
                  <a:cubicBezTo>
                    <a:pt x="14" y="40"/>
                    <a:pt x="12" y="39"/>
                    <a:pt x="10" y="38"/>
                  </a:cubicBezTo>
                  <a:cubicBezTo>
                    <a:pt x="8" y="37"/>
                    <a:pt x="6" y="36"/>
                    <a:pt x="5" y="34"/>
                  </a:cubicBezTo>
                  <a:cubicBezTo>
                    <a:pt x="3" y="32"/>
                    <a:pt x="2" y="30"/>
                    <a:pt x="1" y="28"/>
                  </a:cubicBezTo>
                  <a:cubicBezTo>
                    <a:pt x="0" y="25"/>
                    <a:pt x="0" y="23"/>
                    <a:pt x="0" y="20"/>
                  </a:cubicBezTo>
                  <a:cubicBezTo>
                    <a:pt x="0" y="16"/>
                    <a:pt x="0" y="14"/>
                    <a:pt x="1" y="11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8" y="3"/>
                    <a:pt x="29" y="5"/>
                  </a:cubicBezTo>
                  <a:cubicBezTo>
                    <a:pt x="31" y="7"/>
                    <a:pt x="32" y="9"/>
                    <a:pt x="33" y="11"/>
                  </a:cubicBezTo>
                  <a:cubicBezTo>
                    <a:pt x="34" y="14"/>
                    <a:pt x="34" y="16"/>
                    <a:pt x="34" y="19"/>
                  </a:cubicBezTo>
                  <a:close/>
                  <a:moveTo>
                    <a:pt x="26" y="20"/>
                  </a:moveTo>
                  <a:cubicBezTo>
                    <a:pt x="26" y="18"/>
                    <a:pt x="26" y="16"/>
                    <a:pt x="26" y="14"/>
                  </a:cubicBezTo>
                  <a:cubicBezTo>
                    <a:pt x="25" y="13"/>
                    <a:pt x="25" y="11"/>
                    <a:pt x="24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19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10"/>
                  </a:cubicBezTo>
                  <a:cubicBezTo>
                    <a:pt x="9" y="11"/>
                    <a:pt x="8" y="13"/>
                    <a:pt x="8" y="14"/>
                  </a:cubicBezTo>
                  <a:cubicBezTo>
                    <a:pt x="8" y="16"/>
                    <a:pt x="7" y="17"/>
                    <a:pt x="7" y="19"/>
                  </a:cubicBezTo>
                  <a:cubicBezTo>
                    <a:pt x="7" y="21"/>
                    <a:pt x="8" y="23"/>
                    <a:pt x="8" y="25"/>
                  </a:cubicBezTo>
                  <a:cubicBezTo>
                    <a:pt x="9" y="27"/>
                    <a:pt x="9" y="28"/>
                    <a:pt x="10" y="29"/>
                  </a:cubicBezTo>
                  <a:cubicBezTo>
                    <a:pt x="11" y="30"/>
                    <a:pt x="12" y="31"/>
                    <a:pt x="13" y="32"/>
                  </a:cubicBezTo>
                  <a:cubicBezTo>
                    <a:pt x="14" y="32"/>
                    <a:pt x="16" y="32"/>
                    <a:pt x="17" y="32"/>
                  </a:cubicBezTo>
                  <a:cubicBezTo>
                    <a:pt x="18" y="32"/>
                    <a:pt x="20" y="32"/>
                    <a:pt x="21" y="31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7"/>
                    <a:pt x="25" y="26"/>
                    <a:pt x="26" y="25"/>
                  </a:cubicBezTo>
                  <a:cubicBezTo>
                    <a:pt x="26" y="23"/>
                    <a:pt x="26" y="21"/>
                    <a:pt x="26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09" name="Freeform 27">
              <a:extLst>
                <a:ext uri="{FF2B5EF4-FFF2-40B4-BE49-F238E27FC236}">
                  <a16:creationId xmlns:a16="http://schemas.microsoft.com/office/drawing/2014/main" id="{39861D7E-D8DA-436F-9E2F-5C08A8BFB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344710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1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9 w 31"/>
                <a:gd name="T11" fmla="*/ 9 h 39"/>
                <a:gd name="T12" fmla="*/ 8 w 31"/>
                <a:gd name="T13" fmla="*/ 12 h 39"/>
                <a:gd name="T14" fmla="*/ 7 w 31"/>
                <a:gd name="T15" fmla="*/ 16 h 39"/>
                <a:gd name="T16" fmla="*/ 7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7 w 31"/>
                <a:gd name="T23" fmla="*/ 0 h 39"/>
                <a:gd name="T24" fmla="*/ 7 w 31"/>
                <a:gd name="T25" fmla="*/ 4 h 39"/>
                <a:gd name="T26" fmla="*/ 9 w 31"/>
                <a:gd name="T27" fmla="*/ 2 h 39"/>
                <a:gd name="T28" fmla="*/ 11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7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1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9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7" y="15"/>
                    <a:pt x="7" y="16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8" y="3"/>
                    <a:pt x="8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9" y="0"/>
                    <a:pt x="21" y="0"/>
                    <a:pt x="23" y="1"/>
                  </a:cubicBezTo>
                  <a:cubicBezTo>
                    <a:pt x="25" y="1"/>
                    <a:pt x="26" y="2"/>
                    <a:pt x="27" y="4"/>
                  </a:cubicBezTo>
                  <a:cubicBezTo>
                    <a:pt x="28" y="5"/>
                    <a:pt x="29" y="7"/>
                    <a:pt x="30" y="9"/>
                  </a:cubicBezTo>
                  <a:cubicBezTo>
                    <a:pt x="30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0" name="Freeform 28">
              <a:extLst>
                <a:ext uri="{FF2B5EF4-FFF2-40B4-BE49-F238E27FC236}">
                  <a16:creationId xmlns:a16="http://schemas.microsoft.com/office/drawing/2014/main" id="{8B038F9F-6A9C-4E57-A659-0090AF47059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5845" y="6284068"/>
              <a:ext cx="31387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4 w 12"/>
                <a:gd name="T11" fmla="*/ 11 h 12"/>
                <a:gd name="T12" fmla="*/ 2 w 12"/>
                <a:gd name="T13" fmla="*/ 10 h 12"/>
                <a:gd name="T14" fmla="*/ 1 w 12"/>
                <a:gd name="T15" fmla="*/ 8 h 12"/>
                <a:gd name="T16" fmla="*/ 0 w 12"/>
                <a:gd name="T17" fmla="*/ 6 h 12"/>
                <a:gd name="T18" fmla="*/ 1 w 12"/>
                <a:gd name="T19" fmla="*/ 4 h 12"/>
                <a:gd name="T20" fmla="*/ 2 w 12"/>
                <a:gd name="T21" fmla="*/ 2 h 12"/>
                <a:gd name="T22" fmla="*/ 4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4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1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4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1" name="Freeform 29">
              <a:extLst>
                <a:ext uri="{FF2B5EF4-FFF2-40B4-BE49-F238E27FC236}">
                  <a16:creationId xmlns:a16="http://schemas.microsoft.com/office/drawing/2014/main" id="{15E4EB7D-754D-4053-9A23-596C7CFDA987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0006" y="6181188"/>
              <a:ext cx="97648" cy="130778"/>
            </a:xfrm>
            <a:custGeom>
              <a:avLst/>
              <a:gdLst>
                <a:gd name="T0" fmla="*/ 34 w 56"/>
                <a:gd name="T1" fmla="*/ 11 h 75"/>
                <a:gd name="T2" fmla="*/ 34 w 56"/>
                <a:gd name="T3" fmla="*/ 75 h 75"/>
                <a:gd name="T4" fmla="*/ 22 w 56"/>
                <a:gd name="T5" fmla="*/ 75 h 75"/>
                <a:gd name="T6" fmla="*/ 22 w 56"/>
                <a:gd name="T7" fmla="*/ 11 h 75"/>
                <a:gd name="T8" fmla="*/ 0 w 56"/>
                <a:gd name="T9" fmla="*/ 11 h 75"/>
                <a:gd name="T10" fmla="*/ 0 w 56"/>
                <a:gd name="T11" fmla="*/ 0 h 75"/>
                <a:gd name="T12" fmla="*/ 56 w 56"/>
                <a:gd name="T13" fmla="*/ 0 h 75"/>
                <a:gd name="T14" fmla="*/ 56 w 56"/>
                <a:gd name="T15" fmla="*/ 11 h 75"/>
                <a:gd name="T16" fmla="*/ 34 w 56"/>
                <a:gd name="T17" fmla="*/ 1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75">
                  <a:moveTo>
                    <a:pt x="34" y="11"/>
                  </a:moveTo>
                  <a:lnTo>
                    <a:pt x="34" y="75"/>
                  </a:lnTo>
                  <a:lnTo>
                    <a:pt x="22" y="75"/>
                  </a:lnTo>
                  <a:lnTo>
                    <a:pt x="22" y="11"/>
                  </a:lnTo>
                  <a:lnTo>
                    <a:pt x="0" y="11"/>
                  </a:lnTo>
                  <a:lnTo>
                    <a:pt x="0" y="0"/>
                  </a:lnTo>
                  <a:lnTo>
                    <a:pt x="56" y="0"/>
                  </a:lnTo>
                  <a:lnTo>
                    <a:pt x="56" y="11"/>
                  </a:lnTo>
                  <a:lnTo>
                    <a:pt x="34" y="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2" name="Freeform 30">
              <a:extLst>
                <a:ext uri="{FF2B5EF4-FFF2-40B4-BE49-F238E27FC236}">
                  <a16:creationId xmlns:a16="http://schemas.microsoft.com/office/drawing/2014/main" id="{28E147CB-2B8F-497B-B00B-C25E679DC5E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51603" y="6174213"/>
              <a:ext cx="80211" cy="137753"/>
            </a:xfrm>
            <a:custGeom>
              <a:avLst/>
              <a:gdLst>
                <a:gd name="T0" fmla="*/ 24 w 31"/>
                <a:gd name="T1" fmla="*/ 54 h 54"/>
                <a:gd name="T2" fmla="*/ 24 w 31"/>
                <a:gd name="T3" fmla="*/ 32 h 54"/>
                <a:gd name="T4" fmla="*/ 22 w 31"/>
                <a:gd name="T5" fmla="*/ 24 h 54"/>
                <a:gd name="T6" fmla="*/ 16 w 31"/>
                <a:gd name="T7" fmla="*/ 22 h 54"/>
                <a:gd name="T8" fmla="*/ 13 w 31"/>
                <a:gd name="T9" fmla="*/ 22 h 54"/>
                <a:gd name="T10" fmla="*/ 10 w 31"/>
                <a:gd name="T11" fmla="*/ 24 h 54"/>
                <a:gd name="T12" fmla="*/ 8 w 31"/>
                <a:gd name="T13" fmla="*/ 27 h 54"/>
                <a:gd name="T14" fmla="*/ 8 w 31"/>
                <a:gd name="T15" fmla="*/ 31 h 54"/>
                <a:gd name="T16" fmla="*/ 8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8 w 31"/>
                <a:gd name="T23" fmla="*/ 0 h 54"/>
                <a:gd name="T24" fmla="*/ 8 w 31"/>
                <a:gd name="T25" fmla="*/ 19 h 54"/>
                <a:gd name="T26" fmla="*/ 10 w 31"/>
                <a:gd name="T27" fmla="*/ 17 h 54"/>
                <a:gd name="T28" fmla="*/ 12 w 31"/>
                <a:gd name="T29" fmla="*/ 16 h 54"/>
                <a:gd name="T30" fmla="*/ 15 w 31"/>
                <a:gd name="T31" fmla="*/ 15 h 54"/>
                <a:gd name="T32" fmla="*/ 18 w 31"/>
                <a:gd name="T33" fmla="*/ 15 h 54"/>
                <a:gd name="T34" fmla="*/ 24 w 31"/>
                <a:gd name="T35" fmla="*/ 16 h 54"/>
                <a:gd name="T36" fmla="*/ 28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4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4" y="54"/>
                  </a:moveTo>
                  <a:cubicBezTo>
                    <a:pt x="24" y="32"/>
                    <a:pt x="24" y="32"/>
                    <a:pt x="24" y="32"/>
                  </a:cubicBezTo>
                  <a:cubicBezTo>
                    <a:pt x="24" y="28"/>
                    <a:pt x="23" y="26"/>
                    <a:pt x="22" y="24"/>
                  </a:cubicBezTo>
                  <a:cubicBezTo>
                    <a:pt x="21" y="22"/>
                    <a:pt x="19" y="22"/>
                    <a:pt x="16" y="22"/>
                  </a:cubicBezTo>
                  <a:cubicBezTo>
                    <a:pt x="15" y="22"/>
                    <a:pt x="14" y="22"/>
                    <a:pt x="13" y="22"/>
                  </a:cubicBezTo>
                  <a:cubicBezTo>
                    <a:pt x="12" y="22"/>
                    <a:pt x="11" y="23"/>
                    <a:pt x="10" y="24"/>
                  </a:cubicBezTo>
                  <a:cubicBezTo>
                    <a:pt x="9" y="25"/>
                    <a:pt x="9" y="26"/>
                    <a:pt x="8" y="27"/>
                  </a:cubicBezTo>
                  <a:cubicBezTo>
                    <a:pt x="8" y="28"/>
                    <a:pt x="8" y="30"/>
                    <a:pt x="8" y="31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3" y="15"/>
                    <a:pt x="14" y="15"/>
                    <a:pt x="15" y="15"/>
                  </a:cubicBezTo>
                  <a:cubicBezTo>
                    <a:pt x="16" y="15"/>
                    <a:pt x="17" y="15"/>
                    <a:pt x="18" y="15"/>
                  </a:cubicBezTo>
                  <a:cubicBezTo>
                    <a:pt x="20" y="15"/>
                    <a:pt x="22" y="15"/>
                    <a:pt x="24" y="16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29" y="20"/>
                    <a:pt x="30" y="22"/>
                    <a:pt x="30" y="24"/>
                  </a:cubicBezTo>
                  <a:cubicBezTo>
                    <a:pt x="31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4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3" name="Freeform 31">
              <a:extLst>
                <a:ext uri="{FF2B5EF4-FFF2-40B4-BE49-F238E27FC236}">
                  <a16:creationId xmlns:a16="http://schemas.microsoft.com/office/drawing/2014/main" id="{E68BC676-C787-429D-B59B-1A5CE062F7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50996" y="6212575"/>
              <a:ext cx="85443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8 w 33"/>
                <a:gd name="T9" fmla="*/ 27 h 40"/>
                <a:gd name="T10" fmla="*/ 11 w 33"/>
                <a:gd name="T11" fmla="*/ 30 h 40"/>
                <a:gd name="T12" fmla="*/ 13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4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4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4"/>
                    <a:pt x="8" y="26"/>
                    <a:pt x="8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2"/>
                    <a:pt x="21" y="32"/>
                    <a:pt x="21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4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19" y="39"/>
                    <a:pt x="18" y="40"/>
                    <a:pt x="16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0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2" y="31"/>
                  </a:cubicBezTo>
                  <a:cubicBezTo>
                    <a:pt x="1" y="29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4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19" y="0"/>
                    <a:pt x="22" y="0"/>
                    <a:pt x="24" y="1"/>
                  </a:cubicBezTo>
                  <a:cubicBezTo>
                    <a:pt x="26" y="2"/>
                    <a:pt x="27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2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4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3"/>
                    <a:pt x="7" y="14"/>
                    <a:pt x="7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4" name="Freeform 32">
              <a:extLst>
                <a:ext uri="{FF2B5EF4-FFF2-40B4-BE49-F238E27FC236}">
                  <a16:creationId xmlns:a16="http://schemas.microsoft.com/office/drawing/2014/main" id="{71266960-73CB-44B9-9A97-8108589891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02698" y="6174213"/>
              <a:ext cx="80211" cy="139497"/>
            </a:xfrm>
            <a:custGeom>
              <a:avLst/>
              <a:gdLst>
                <a:gd name="T0" fmla="*/ 32 w 32"/>
                <a:gd name="T1" fmla="*/ 35 h 55"/>
                <a:gd name="T2" fmla="*/ 31 w 32"/>
                <a:gd name="T3" fmla="*/ 44 h 55"/>
                <a:gd name="T4" fmla="*/ 28 w 32"/>
                <a:gd name="T5" fmla="*/ 50 h 55"/>
                <a:gd name="T6" fmla="*/ 23 w 32"/>
                <a:gd name="T7" fmla="*/ 53 h 55"/>
                <a:gd name="T8" fmla="*/ 17 w 32"/>
                <a:gd name="T9" fmla="*/ 55 h 55"/>
                <a:gd name="T10" fmla="*/ 12 w 32"/>
                <a:gd name="T11" fmla="*/ 53 h 55"/>
                <a:gd name="T12" fmla="*/ 7 w 32"/>
                <a:gd name="T13" fmla="*/ 50 h 55"/>
                <a:gd name="T14" fmla="*/ 7 w 32"/>
                <a:gd name="T15" fmla="*/ 54 h 55"/>
                <a:gd name="T16" fmla="*/ 0 w 32"/>
                <a:gd name="T17" fmla="*/ 54 h 55"/>
                <a:gd name="T18" fmla="*/ 0 w 32"/>
                <a:gd name="T19" fmla="*/ 4 h 55"/>
                <a:gd name="T20" fmla="*/ 7 w 32"/>
                <a:gd name="T21" fmla="*/ 0 h 55"/>
                <a:gd name="T22" fmla="*/ 7 w 32"/>
                <a:gd name="T23" fmla="*/ 19 h 55"/>
                <a:gd name="T24" fmla="*/ 10 w 32"/>
                <a:gd name="T25" fmla="*/ 17 h 55"/>
                <a:gd name="T26" fmla="*/ 12 w 32"/>
                <a:gd name="T27" fmla="*/ 16 h 55"/>
                <a:gd name="T28" fmla="*/ 14 w 32"/>
                <a:gd name="T29" fmla="*/ 15 h 55"/>
                <a:gd name="T30" fmla="*/ 17 w 32"/>
                <a:gd name="T31" fmla="*/ 15 h 55"/>
                <a:gd name="T32" fmla="*/ 23 w 32"/>
                <a:gd name="T33" fmla="*/ 16 h 55"/>
                <a:gd name="T34" fmla="*/ 28 w 32"/>
                <a:gd name="T35" fmla="*/ 19 h 55"/>
                <a:gd name="T36" fmla="*/ 31 w 32"/>
                <a:gd name="T37" fmla="*/ 26 h 55"/>
                <a:gd name="T38" fmla="*/ 32 w 32"/>
                <a:gd name="T39" fmla="*/ 35 h 55"/>
                <a:gd name="T40" fmla="*/ 25 w 32"/>
                <a:gd name="T41" fmla="*/ 35 h 55"/>
                <a:gd name="T42" fmla="*/ 23 w 32"/>
                <a:gd name="T43" fmla="*/ 25 h 55"/>
                <a:gd name="T44" fmla="*/ 16 w 32"/>
                <a:gd name="T45" fmla="*/ 22 h 55"/>
                <a:gd name="T46" fmla="*/ 14 w 32"/>
                <a:gd name="T47" fmla="*/ 22 h 55"/>
                <a:gd name="T48" fmla="*/ 11 w 32"/>
                <a:gd name="T49" fmla="*/ 23 h 55"/>
                <a:gd name="T50" fmla="*/ 9 w 32"/>
                <a:gd name="T51" fmla="*/ 25 h 55"/>
                <a:gd name="T52" fmla="*/ 7 w 32"/>
                <a:gd name="T53" fmla="*/ 26 h 55"/>
                <a:gd name="T54" fmla="*/ 7 w 32"/>
                <a:gd name="T55" fmla="*/ 43 h 55"/>
                <a:gd name="T56" fmla="*/ 9 w 32"/>
                <a:gd name="T57" fmla="*/ 44 h 55"/>
                <a:gd name="T58" fmla="*/ 11 w 32"/>
                <a:gd name="T59" fmla="*/ 46 h 55"/>
                <a:gd name="T60" fmla="*/ 14 w 32"/>
                <a:gd name="T61" fmla="*/ 47 h 55"/>
                <a:gd name="T62" fmla="*/ 16 w 32"/>
                <a:gd name="T63" fmla="*/ 48 h 55"/>
                <a:gd name="T64" fmla="*/ 23 w 32"/>
                <a:gd name="T65" fmla="*/ 45 h 55"/>
                <a:gd name="T66" fmla="*/ 25 w 32"/>
                <a:gd name="T67" fmla="*/ 3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" h="55">
                  <a:moveTo>
                    <a:pt x="32" y="35"/>
                  </a:moveTo>
                  <a:cubicBezTo>
                    <a:pt x="32" y="38"/>
                    <a:pt x="32" y="41"/>
                    <a:pt x="31" y="44"/>
                  </a:cubicBezTo>
                  <a:cubicBezTo>
                    <a:pt x="30" y="46"/>
                    <a:pt x="29" y="48"/>
                    <a:pt x="28" y="50"/>
                  </a:cubicBezTo>
                  <a:cubicBezTo>
                    <a:pt x="26" y="51"/>
                    <a:pt x="25" y="53"/>
                    <a:pt x="23" y="53"/>
                  </a:cubicBezTo>
                  <a:cubicBezTo>
                    <a:pt x="21" y="54"/>
                    <a:pt x="19" y="55"/>
                    <a:pt x="17" y="55"/>
                  </a:cubicBezTo>
                  <a:cubicBezTo>
                    <a:pt x="15" y="55"/>
                    <a:pt x="13" y="54"/>
                    <a:pt x="12" y="53"/>
                  </a:cubicBezTo>
                  <a:cubicBezTo>
                    <a:pt x="10" y="52"/>
                    <a:pt x="9" y="51"/>
                    <a:pt x="7" y="50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8"/>
                    <a:pt x="10" y="17"/>
                  </a:cubicBezTo>
                  <a:cubicBezTo>
                    <a:pt x="10" y="17"/>
                    <a:pt x="11" y="16"/>
                    <a:pt x="12" y="16"/>
                  </a:cubicBezTo>
                  <a:cubicBezTo>
                    <a:pt x="12" y="16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20" y="15"/>
                    <a:pt x="21" y="15"/>
                    <a:pt x="23" y="16"/>
                  </a:cubicBezTo>
                  <a:cubicBezTo>
                    <a:pt x="25" y="16"/>
                    <a:pt x="27" y="18"/>
                    <a:pt x="28" y="19"/>
                  </a:cubicBezTo>
                  <a:cubicBezTo>
                    <a:pt x="29" y="21"/>
                    <a:pt x="30" y="23"/>
                    <a:pt x="31" y="26"/>
                  </a:cubicBezTo>
                  <a:cubicBezTo>
                    <a:pt x="32" y="28"/>
                    <a:pt x="32" y="32"/>
                    <a:pt x="32" y="35"/>
                  </a:cubicBezTo>
                  <a:close/>
                  <a:moveTo>
                    <a:pt x="25" y="35"/>
                  </a:moveTo>
                  <a:cubicBezTo>
                    <a:pt x="25" y="31"/>
                    <a:pt x="24" y="27"/>
                    <a:pt x="23" y="25"/>
                  </a:cubicBezTo>
                  <a:cubicBezTo>
                    <a:pt x="21" y="23"/>
                    <a:pt x="19" y="22"/>
                    <a:pt x="16" y="22"/>
                  </a:cubicBezTo>
                  <a:cubicBezTo>
                    <a:pt x="15" y="22"/>
                    <a:pt x="14" y="22"/>
                    <a:pt x="14" y="22"/>
                  </a:cubicBezTo>
                  <a:cubicBezTo>
                    <a:pt x="13" y="22"/>
                    <a:pt x="12" y="23"/>
                    <a:pt x="11" y="23"/>
                  </a:cubicBezTo>
                  <a:cubicBezTo>
                    <a:pt x="10" y="23"/>
                    <a:pt x="10" y="24"/>
                    <a:pt x="9" y="25"/>
                  </a:cubicBezTo>
                  <a:cubicBezTo>
                    <a:pt x="8" y="25"/>
                    <a:pt x="8" y="26"/>
                    <a:pt x="7" y="26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8" y="43"/>
                    <a:pt x="8" y="44"/>
                    <a:pt x="9" y="44"/>
                  </a:cubicBezTo>
                  <a:cubicBezTo>
                    <a:pt x="10" y="45"/>
                    <a:pt x="10" y="45"/>
                    <a:pt x="11" y="46"/>
                  </a:cubicBezTo>
                  <a:cubicBezTo>
                    <a:pt x="12" y="46"/>
                    <a:pt x="13" y="47"/>
                    <a:pt x="14" y="47"/>
                  </a:cubicBezTo>
                  <a:cubicBezTo>
                    <a:pt x="15" y="47"/>
                    <a:pt x="15" y="48"/>
                    <a:pt x="16" y="48"/>
                  </a:cubicBezTo>
                  <a:cubicBezTo>
                    <a:pt x="19" y="48"/>
                    <a:pt x="21" y="47"/>
                    <a:pt x="23" y="45"/>
                  </a:cubicBezTo>
                  <a:cubicBezTo>
                    <a:pt x="24" y="43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5" name="Freeform 33">
              <a:extLst>
                <a:ext uri="{FF2B5EF4-FFF2-40B4-BE49-F238E27FC236}">
                  <a16:creationId xmlns:a16="http://schemas.microsoft.com/office/drawing/2014/main" id="{3FF3AC5A-B742-4B29-8E04-03A71D82B9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603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8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8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3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7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6" name="Freeform 34">
              <a:extLst>
                <a:ext uri="{FF2B5EF4-FFF2-40B4-BE49-F238E27FC236}">
                  <a16:creationId xmlns:a16="http://schemas.microsoft.com/office/drawing/2014/main" id="{0C912743-E24B-4E48-8196-5FBD1ECEE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6251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7" name="Freeform 35">
              <a:extLst>
                <a:ext uri="{FF2B5EF4-FFF2-40B4-BE49-F238E27FC236}">
                  <a16:creationId xmlns:a16="http://schemas.microsoft.com/office/drawing/2014/main" id="{6E2F01F4-1410-4FE1-B043-EA97A1541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164256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7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6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7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8" name="Freeform 36">
              <a:extLst>
                <a:ext uri="{FF2B5EF4-FFF2-40B4-BE49-F238E27FC236}">
                  <a16:creationId xmlns:a16="http://schemas.microsoft.com/office/drawing/2014/main" id="{58ACFF1C-49F0-414E-B9E3-DE4E9FFAA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340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8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1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6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1 w 33"/>
                <a:gd name="T69" fmla="*/ 7 h 40"/>
                <a:gd name="T70" fmla="*/ 17 w 33"/>
                <a:gd name="T71" fmla="*/ 6 h 40"/>
                <a:gd name="T72" fmla="*/ 13 w 33"/>
                <a:gd name="T73" fmla="*/ 7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6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8" y="22"/>
                    <a:pt x="8" y="22"/>
                    <a:pt x="8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10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1" y="32"/>
                    <a:pt x="21" y="32"/>
                    <a:pt x="22" y="32"/>
                  </a:cubicBezTo>
                  <a:cubicBezTo>
                    <a:pt x="23" y="32"/>
                    <a:pt x="23" y="31"/>
                    <a:pt x="24" y="31"/>
                  </a:cubicBezTo>
                  <a:cubicBezTo>
                    <a:pt x="24" y="31"/>
                    <a:pt x="25" y="30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7" y="37"/>
                    <a:pt x="26" y="38"/>
                    <a:pt x="25" y="38"/>
                  </a:cubicBezTo>
                  <a:cubicBezTo>
                    <a:pt x="24" y="39"/>
                    <a:pt x="22" y="39"/>
                    <a:pt x="21" y="39"/>
                  </a:cubicBezTo>
                  <a:cubicBezTo>
                    <a:pt x="20" y="39"/>
                    <a:pt x="19" y="40"/>
                    <a:pt x="17" y="40"/>
                  </a:cubicBezTo>
                  <a:cubicBezTo>
                    <a:pt x="15" y="40"/>
                    <a:pt x="14" y="39"/>
                    <a:pt x="12" y="39"/>
                  </a:cubicBezTo>
                  <a:cubicBezTo>
                    <a:pt x="11" y="38"/>
                    <a:pt x="10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5" y="34"/>
                    <a:pt x="4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6"/>
                    <a:pt x="1" y="13"/>
                    <a:pt x="2" y="11"/>
                  </a:cubicBezTo>
                  <a:cubicBezTo>
                    <a:pt x="2" y="8"/>
                    <a:pt x="4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6" y="16"/>
                  </a:moveTo>
                  <a:cubicBezTo>
                    <a:pt x="26" y="15"/>
                    <a:pt x="25" y="13"/>
                    <a:pt x="25" y="12"/>
                  </a:cubicBezTo>
                  <a:cubicBezTo>
                    <a:pt x="25" y="11"/>
                    <a:pt x="24" y="10"/>
                    <a:pt x="23" y="9"/>
                  </a:cubicBezTo>
                  <a:cubicBezTo>
                    <a:pt x="23" y="8"/>
                    <a:pt x="22" y="8"/>
                    <a:pt x="21" y="7"/>
                  </a:cubicBezTo>
                  <a:cubicBezTo>
                    <a:pt x="20" y="7"/>
                    <a:pt x="18" y="6"/>
                    <a:pt x="17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6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19" name="Freeform 37">
              <a:extLst>
                <a:ext uri="{FF2B5EF4-FFF2-40B4-BE49-F238E27FC236}">
                  <a16:creationId xmlns:a16="http://schemas.microsoft.com/office/drawing/2014/main" id="{DACBD04B-22FF-4A4F-8B29-A2F31A054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6884" y="6212575"/>
              <a:ext cx="59286" cy="99391"/>
            </a:xfrm>
            <a:custGeom>
              <a:avLst/>
              <a:gdLst>
                <a:gd name="T0" fmla="*/ 21 w 23"/>
                <a:gd name="T1" fmla="*/ 8 h 39"/>
                <a:gd name="T2" fmla="*/ 19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9" y="7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0" name="Freeform 38">
              <a:extLst>
                <a:ext uri="{FF2B5EF4-FFF2-40B4-BE49-F238E27FC236}">
                  <a16:creationId xmlns:a16="http://schemas.microsoft.com/office/drawing/2014/main" id="{A13F6E37-C22B-4FD3-ADFE-9C53ECB44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1969" y="6174213"/>
              <a:ext cx="55799" cy="139497"/>
            </a:xfrm>
            <a:custGeom>
              <a:avLst/>
              <a:gdLst>
                <a:gd name="T0" fmla="*/ 21 w 22"/>
                <a:gd name="T1" fmla="*/ 53 h 55"/>
                <a:gd name="T2" fmla="*/ 18 w 22"/>
                <a:gd name="T3" fmla="*/ 54 h 55"/>
                <a:gd name="T4" fmla="*/ 14 w 22"/>
                <a:gd name="T5" fmla="*/ 55 h 55"/>
                <a:gd name="T6" fmla="*/ 10 w 22"/>
                <a:gd name="T7" fmla="*/ 54 h 55"/>
                <a:gd name="T8" fmla="*/ 8 w 22"/>
                <a:gd name="T9" fmla="*/ 52 h 55"/>
                <a:gd name="T10" fmla="*/ 6 w 22"/>
                <a:gd name="T11" fmla="*/ 49 h 55"/>
                <a:gd name="T12" fmla="*/ 5 w 22"/>
                <a:gd name="T13" fmla="*/ 44 h 55"/>
                <a:gd name="T14" fmla="*/ 5 w 22"/>
                <a:gd name="T15" fmla="*/ 22 h 55"/>
                <a:gd name="T16" fmla="*/ 0 w 22"/>
                <a:gd name="T17" fmla="*/ 22 h 55"/>
                <a:gd name="T18" fmla="*/ 0 w 22"/>
                <a:gd name="T19" fmla="*/ 15 h 55"/>
                <a:gd name="T20" fmla="*/ 5 w 22"/>
                <a:gd name="T21" fmla="*/ 15 h 55"/>
                <a:gd name="T22" fmla="*/ 5 w 22"/>
                <a:gd name="T23" fmla="*/ 4 h 55"/>
                <a:gd name="T24" fmla="*/ 12 w 22"/>
                <a:gd name="T25" fmla="*/ 0 h 55"/>
                <a:gd name="T26" fmla="*/ 12 w 22"/>
                <a:gd name="T27" fmla="*/ 15 h 55"/>
                <a:gd name="T28" fmla="*/ 22 w 22"/>
                <a:gd name="T29" fmla="*/ 15 h 55"/>
                <a:gd name="T30" fmla="*/ 22 w 22"/>
                <a:gd name="T31" fmla="*/ 22 h 55"/>
                <a:gd name="T32" fmla="*/ 12 w 22"/>
                <a:gd name="T33" fmla="*/ 22 h 55"/>
                <a:gd name="T34" fmla="*/ 12 w 22"/>
                <a:gd name="T35" fmla="*/ 43 h 55"/>
                <a:gd name="T36" fmla="*/ 13 w 22"/>
                <a:gd name="T37" fmla="*/ 45 h 55"/>
                <a:gd name="T38" fmla="*/ 13 w 22"/>
                <a:gd name="T39" fmla="*/ 47 h 55"/>
                <a:gd name="T40" fmla="*/ 15 w 22"/>
                <a:gd name="T41" fmla="*/ 47 h 55"/>
                <a:gd name="T42" fmla="*/ 16 w 22"/>
                <a:gd name="T43" fmla="*/ 48 h 55"/>
                <a:gd name="T44" fmla="*/ 19 w 22"/>
                <a:gd name="T45" fmla="*/ 47 h 55"/>
                <a:gd name="T46" fmla="*/ 22 w 22"/>
                <a:gd name="T47" fmla="*/ 46 h 55"/>
                <a:gd name="T48" fmla="*/ 21 w 22"/>
                <a:gd name="T49" fmla="*/ 5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5">
                  <a:moveTo>
                    <a:pt x="21" y="53"/>
                  </a:moveTo>
                  <a:cubicBezTo>
                    <a:pt x="20" y="53"/>
                    <a:pt x="19" y="54"/>
                    <a:pt x="18" y="54"/>
                  </a:cubicBezTo>
                  <a:cubicBezTo>
                    <a:pt x="17" y="54"/>
                    <a:pt x="15" y="55"/>
                    <a:pt x="14" y="55"/>
                  </a:cubicBezTo>
                  <a:cubicBezTo>
                    <a:pt x="12" y="55"/>
                    <a:pt x="11" y="54"/>
                    <a:pt x="10" y="54"/>
                  </a:cubicBezTo>
                  <a:cubicBezTo>
                    <a:pt x="9" y="54"/>
                    <a:pt x="8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8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43"/>
                    <a:pt x="12" y="43"/>
                    <a:pt x="12" y="43"/>
                  </a:cubicBezTo>
                  <a:cubicBezTo>
                    <a:pt x="12" y="44"/>
                    <a:pt x="12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8"/>
                    <a:pt x="16" y="48"/>
                  </a:cubicBezTo>
                  <a:cubicBezTo>
                    <a:pt x="17" y="48"/>
                    <a:pt x="18" y="48"/>
                    <a:pt x="19" y="47"/>
                  </a:cubicBezTo>
                  <a:cubicBezTo>
                    <a:pt x="20" y="47"/>
                    <a:pt x="21" y="47"/>
                    <a:pt x="22" y="46"/>
                  </a:cubicBezTo>
                  <a:lnTo>
                    <a:pt x="21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1" name="Freeform 39">
              <a:extLst>
                <a:ext uri="{FF2B5EF4-FFF2-40B4-BE49-F238E27FC236}">
                  <a16:creationId xmlns:a16="http://schemas.microsoft.com/office/drawing/2014/main" id="{76256F1D-405A-49F9-8592-A899623F2D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0436" y="6174213"/>
              <a:ext cx="80211" cy="137753"/>
            </a:xfrm>
            <a:custGeom>
              <a:avLst/>
              <a:gdLst>
                <a:gd name="T0" fmla="*/ 23 w 31"/>
                <a:gd name="T1" fmla="*/ 54 h 54"/>
                <a:gd name="T2" fmla="*/ 23 w 31"/>
                <a:gd name="T3" fmla="*/ 32 h 54"/>
                <a:gd name="T4" fmla="*/ 21 w 31"/>
                <a:gd name="T5" fmla="*/ 24 h 54"/>
                <a:gd name="T6" fmla="*/ 15 w 31"/>
                <a:gd name="T7" fmla="*/ 22 h 54"/>
                <a:gd name="T8" fmla="*/ 12 w 31"/>
                <a:gd name="T9" fmla="*/ 22 h 54"/>
                <a:gd name="T10" fmla="*/ 9 w 31"/>
                <a:gd name="T11" fmla="*/ 24 h 54"/>
                <a:gd name="T12" fmla="*/ 8 w 31"/>
                <a:gd name="T13" fmla="*/ 27 h 54"/>
                <a:gd name="T14" fmla="*/ 7 w 31"/>
                <a:gd name="T15" fmla="*/ 31 h 54"/>
                <a:gd name="T16" fmla="*/ 7 w 31"/>
                <a:gd name="T17" fmla="*/ 54 h 54"/>
                <a:gd name="T18" fmla="*/ 0 w 31"/>
                <a:gd name="T19" fmla="*/ 54 h 54"/>
                <a:gd name="T20" fmla="*/ 0 w 31"/>
                <a:gd name="T21" fmla="*/ 4 h 54"/>
                <a:gd name="T22" fmla="*/ 7 w 31"/>
                <a:gd name="T23" fmla="*/ 0 h 54"/>
                <a:gd name="T24" fmla="*/ 7 w 31"/>
                <a:gd name="T25" fmla="*/ 19 h 54"/>
                <a:gd name="T26" fmla="*/ 9 w 31"/>
                <a:gd name="T27" fmla="*/ 17 h 54"/>
                <a:gd name="T28" fmla="*/ 11 w 31"/>
                <a:gd name="T29" fmla="*/ 16 h 54"/>
                <a:gd name="T30" fmla="*/ 14 w 31"/>
                <a:gd name="T31" fmla="*/ 15 h 54"/>
                <a:gd name="T32" fmla="*/ 17 w 31"/>
                <a:gd name="T33" fmla="*/ 15 h 54"/>
                <a:gd name="T34" fmla="*/ 23 w 31"/>
                <a:gd name="T35" fmla="*/ 16 h 54"/>
                <a:gd name="T36" fmla="*/ 27 w 31"/>
                <a:gd name="T37" fmla="*/ 19 h 54"/>
                <a:gd name="T38" fmla="*/ 30 w 31"/>
                <a:gd name="T39" fmla="*/ 24 h 54"/>
                <a:gd name="T40" fmla="*/ 31 w 31"/>
                <a:gd name="T41" fmla="*/ 32 h 54"/>
                <a:gd name="T42" fmla="*/ 31 w 31"/>
                <a:gd name="T43" fmla="*/ 54 h 54"/>
                <a:gd name="T44" fmla="*/ 23 w 31"/>
                <a:gd name="T45" fmla="*/ 54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4">
                  <a:moveTo>
                    <a:pt x="23" y="54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6"/>
                    <a:pt x="21" y="24"/>
                  </a:cubicBezTo>
                  <a:cubicBezTo>
                    <a:pt x="20" y="22"/>
                    <a:pt x="18" y="22"/>
                    <a:pt x="15" y="22"/>
                  </a:cubicBezTo>
                  <a:cubicBezTo>
                    <a:pt x="14" y="22"/>
                    <a:pt x="13" y="22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5"/>
                    <a:pt x="8" y="26"/>
                    <a:pt x="8" y="27"/>
                  </a:cubicBezTo>
                  <a:cubicBezTo>
                    <a:pt x="7" y="28"/>
                    <a:pt x="7" y="30"/>
                    <a:pt x="7" y="31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8"/>
                    <a:pt x="9" y="17"/>
                  </a:cubicBezTo>
                  <a:cubicBezTo>
                    <a:pt x="10" y="17"/>
                    <a:pt x="10" y="16"/>
                    <a:pt x="11" y="16"/>
                  </a:cubicBezTo>
                  <a:cubicBezTo>
                    <a:pt x="12" y="15"/>
                    <a:pt x="13" y="15"/>
                    <a:pt x="14" y="15"/>
                  </a:cubicBezTo>
                  <a:cubicBezTo>
                    <a:pt x="15" y="15"/>
                    <a:pt x="16" y="15"/>
                    <a:pt x="17" y="15"/>
                  </a:cubicBezTo>
                  <a:cubicBezTo>
                    <a:pt x="19" y="15"/>
                    <a:pt x="21" y="15"/>
                    <a:pt x="23" y="16"/>
                  </a:cubicBezTo>
                  <a:cubicBezTo>
                    <a:pt x="25" y="16"/>
                    <a:pt x="26" y="17"/>
                    <a:pt x="27" y="19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7"/>
                    <a:pt x="31" y="29"/>
                    <a:pt x="31" y="32"/>
                  </a:cubicBezTo>
                  <a:cubicBezTo>
                    <a:pt x="31" y="54"/>
                    <a:pt x="31" y="54"/>
                    <a:pt x="31" y="54"/>
                  </a:cubicBezTo>
                  <a:lnTo>
                    <a:pt x="23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2" name="Freeform 40">
              <a:extLst>
                <a:ext uri="{FF2B5EF4-FFF2-40B4-BE49-F238E27FC236}">
                  <a16:creationId xmlns:a16="http://schemas.microsoft.com/office/drawing/2014/main" id="{2F9CAE14-DB05-4B70-867F-3F6164BDB7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2808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3" name="Freeform 41">
              <a:extLst>
                <a:ext uri="{FF2B5EF4-FFF2-40B4-BE49-F238E27FC236}">
                  <a16:creationId xmlns:a16="http://schemas.microsoft.com/office/drawing/2014/main" id="{30C7B10F-7027-41F9-BEE2-F1575CB690D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2813" y="6212575"/>
              <a:ext cx="81955" cy="101135"/>
            </a:xfrm>
            <a:custGeom>
              <a:avLst/>
              <a:gdLst>
                <a:gd name="T0" fmla="*/ 24 w 32"/>
                <a:gd name="T1" fmla="*/ 39 h 40"/>
                <a:gd name="T2" fmla="*/ 24 w 32"/>
                <a:gd name="T3" fmla="*/ 35 h 40"/>
                <a:gd name="T4" fmla="*/ 22 w 32"/>
                <a:gd name="T5" fmla="*/ 37 h 40"/>
                <a:gd name="T6" fmla="*/ 20 w 32"/>
                <a:gd name="T7" fmla="*/ 38 h 40"/>
                <a:gd name="T8" fmla="*/ 17 w 32"/>
                <a:gd name="T9" fmla="*/ 39 h 40"/>
                <a:gd name="T10" fmla="*/ 14 w 32"/>
                <a:gd name="T11" fmla="*/ 40 h 40"/>
                <a:gd name="T12" fmla="*/ 9 w 32"/>
                <a:gd name="T13" fmla="*/ 39 h 40"/>
                <a:gd name="T14" fmla="*/ 5 w 32"/>
                <a:gd name="T15" fmla="*/ 37 h 40"/>
                <a:gd name="T16" fmla="*/ 2 w 32"/>
                <a:gd name="T17" fmla="*/ 33 h 40"/>
                <a:gd name="T18" fmla="*/ 0 w 32"/>
                <a:gd name="T19" fmla="*/ 27 h 40"/>
                <a:gd name="T20" fmla="*/ 2 w 32"/>
                <a:gd name="T21" fmla="*/ 21 h 40"/>
                <a:gd name="T22" fmla="*/ 5 w 32"/>
                <a:gd name="T23" fmla="*/ 17 h 40"/>
                <a:gd name="T24" fmla="*/ 10 w 32"/>
                <a:gd name="T25" fmla="*/ 15 h 40"/>
                <a:gd name="T26" fmla="*/ 16 w 32"/>
                <a:gd name="T27" fmla="*/ 14 h 40"/>
                <a:gd name="T28" fmla="*/ 21 w 32"/>
                <a:gd name="T29" fmla="*/ 15 h 40"/>
                <a:gd name="T30" fmla="*/ 24 w 32"/>
                <a:gd name="T31" fmla="*/ 16 h 40"/>
                <a:gd name="T32" fmla="*/ 24 w 32"/>
                <a:gd name="T33" fmla="*/ 13 h 40"/>
                <a:gd name="T34" fmla="*/ 22 w 32"/>
                <a:gd name="T35" fmla="*/ 8 h 40"/>
                <a:gd name="T36" fmla="*/ 17 w 32"/>
                <a:gd name="T37" fmla="*/ 6 h 40"/>
                <a:gd name="T38" fmla="*/ 12 w 32"/>
                <a:gd name="T39" fmla="*/ 7 h 40"/>
                <a:gd name="T40" fmla="*/ 7 w 32"/>
                <a:gd name="T41" fmla="*/ 9 h 40"/>
                <a:gd name="T42" fmla="*/ 4 w 32"/>
                <a:gd name="T43" fmla="*/ 3 h 40"/>
                <a:gd name="T44" fmla="*/ 10 w 32"/>
                <a:gd name="T45" fmla="*/ 0 h 40"/>
                <a:gd name="T46" fmla="*/ 17 w 32"/>
                <a:gd name="T47" fmla="*/ 0 h 40"/>
                <a:gd name="T48" fmla="*/ 23 w 32"/>
                <a:gd name="T49" fmla="*/ 0 h 40"/>
                <a:gd name="T50" fmla="*/ 28 w 32"/>
                <a:gd name="T51" fmla="*/ 3 h 40"/>
                <a:gd name="T52" fmla="*/ 31 w 32"/>
                <a:gd name="T53" fmla="*/ 7 h 40"/>
                <a:gd name="T54" fmla="*/ 32 w 32"/>
                <a:gd name="T55" fmla="*/ 12 h 40"/>
                <a:gd name="T56" fmla="*/ 32 w 32"/>
                <a:gd name="T57" fmla="*/ 39 h 40"/>
                <a:gd name="T58" fmla="*/ 24 w 32"/>
                <a:gd name="T59" fmla="*/ 39 h 40"/>
                <a:gd name="T60" fmla="*/ 24 w 32"/>
                <a:gd name="T61" fmla="*/ 22 h 40"/>
                <a:gd name="T62" fmla="*/ 22 w 32"/>
                <a:gd name="T63" fmla="*/ 22 h 40"/>
                <a:gd name="T64" fmla="*/ 21 w 32"/>
                <a:gd name="T65" fmla="*/ 21 h 40"/>
                <a:gd name="T66" fmla="*/ 18 w 32"/>
                <a:gd name="T67" fmla="*/ 21 h 40"/>
                <a:gd name="T68" fmla="*/ 16 w 32"/>
                <a:gd name="T69" fmla="*/ 21 h 40"/>
                <a:gd name="T70" fmla="*/ 10 w 32"/>
                <a:gd name="T71" fmla="*/ 22 h 40"/>
                <a:gd name="T72" fmla="*/ 8 w 32"/>
                <a:gd name="T73" fmla="*/ 26 h 40"/>
                <a:gd name="T74" fmla="*/ 8 w 32"/>
                <a:gd name="T75" fmla="*/ 29 h 40"/>
                <a:gd name="T76" fmla="*/ 10 w 32"/>
                <a:gd name="T77" fmla="*/ 31 h 40"/>
                <a:gd name="T78" fmla="*/ 12 w 32"/>
                <a:gd name="T79" fmla="*/ 32 h 40"/>
                <a:gd name="T80" fmla="*/ 15 w 32"/>
                <a:gd name="T81" fmla="*/ 33 h 40"/>
                <a:gd name="T82" fmla="*/ 18 w 32"/>
                <a:gd name="T83" fmla="*/ 32 h 40"/>
                <a:gd name="T84" fmla="*/ 21 w 32"/>
                <a:gd name="T85" fmla="*/ 31 h 40"/>
                <a:gd name="T86" fmla="*/ 23 w 32"/>
                <a:gd name="T87" fmla="*/ 30 h 40"/>
                <a:gd name="T88" fmla="*/ 24 w 32"/>
                <a:gd name="T89" fmla="*/ 28 h 40"/>
                <a:gd name="T90" fmla="*/ 24 w 32"/>
                <a:gd name="T91" fmla="*/ 22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" h="40">
                  <a:moveTo>
                    <a:pt x="24" y="39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3" y="36"/>
                    <a:pt x="23" y="37"/>
                    <a:pt x="22" y="37"/>
                  </a:cubicBezTo>
                  <a:cubicBezTo>
                    <a:pt x="21" y="37"/>
                    <a:pt x="21" y="38"/>
                    <a:pt x="20" y="38"/>
                  </a:cubicBezTo>
                  <a:cubicBezTo>
                    <a:pt x="19" y="39"/>
                    <a:pt x="18" y="39"/>
                    <a:pt x="17" y="39"/>
                  </a:cubicBezTo>
                  <a:cubicBezTo>
                    <a:pt x="16" y="39"/>
                    <a:pt x="15" y="40"/>
                    <a:pt x="14" y="40"/>
                  </a:cubicBezTo>
                  <a:cubicBezTo>
                    <a:pt x="12" y="40"/>
                    <a:pt x="11" y="39"/>
                    <a:pt x="9" y="39"/>
                  </a:cubicBezTo>
                  <a:cubicBezTo>
                    <a:pt x="7" y="38"/>
                    <a:pt x="6" y="38"/>
                    <a:pt x="5" y="37"/>
                  </a:cubicBezTo>
                  <a:cubicBezTo>
                    <a:pt x="3" y="36"/>
                    <a:pt x="2" y="34"/>
                    <a:pt x="2" y="33"/>
                  </a:cubicBezTo>
                  <a:cubicBezTo>
                    <a:pt x="1" y="31"/>
                    <a:pt x="0" y="29"/>
                    <a:pt x="0" y="27"/>
                  </a:cubicBezTo>
                  <a:cubicBezTo>
                    <a:pt x="0" y="24"/>
                    <a:pt x="1" y="23"/>
                    <a:pt x="2" y="21"/>
                  </a:cubicBezTo>
                  <a:cubicBezTo>
                    <a:pt x="2" y="20"/>
                    <a:pt x="3" y="18"/>
                    <a:pt x="5" y="17"/>
                  </a:cubicBezTo>
                  <a:cubicBezTo>
                    <a:pt x="6" y="16"/>
                    <a:pt x="8" y="15"/>
                    <a:pt x="10" y="15"/>
                  </a:cubicBezTo>
                  <a:cubicBezTo>
                    <a:pt x="12" y="14"/>
                    <a:pt x="14" y="14"/>
                    <a:pt x="16" y="14"/>
                  </a:cubicBezTo>
                  <a:cubicBezTo>
                    <a:pt x="18" y="14"/>
                    <a:pt x="19" y="14"/>
                    <a:pt x="21" y="15"/>
                  </a:cubicBezTo>
                  <a:cubicBezTo>
                    <a:pt x="22" y="15"/>
                    <a:pt x="23" y="15"/>
                    <a:pt x="24" y="16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4" y="11"/>
                    <a:pt x="24" y="9"/>
                    <a:pt x="22" y="8"/>
                  </a:cubicBezTo>
                  <a:cubicBezTo>
                    <a:pt x="21" y="7"/>
                    <a:pt x="19" y="6"/>
                    <a:pt x="17" y="6"/>
                  </a:cubicBezTo>
                  <a:cubicBezTo>
                    <a:pt x="15" y="6"/>
                    <a:pt x="13" y="6"/>
                    <a:pt x="12" y="7"/>
                  </a:cubicBezTo>
                  <a:cubicBezTo>
                    <a:pt x="10" y="7"/>
                    <a:pt x="9" y="8"/>
                    <a:pt x="7" y="9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6" y="2"/>
                    <a:pt x="8" y="1"/>
                    <a:pt x="10" y="0"/>
                  </a:cubicBezTo>
                  <a:cubicBezTo>
                    <a:pt x="12" y="0"/>
                    <a:pt x="15" y="0"/>
                    <a:pt x="17" y="0"/>
                  </a:cubicBezTo>
                  <a:cubicBezTo>
                    <a:pt x="19" y="0"/>
                    <a:pt x="21" y="0"/>
                    <a:pt x="23" y="0"/>
                  </a:cubicBezTo>
                  <a:cubicBezTo>
                    <a:pt x="25" y="1"/>
                    <a:pt x="26" y="2"/>
                    <a:pt x="28" y="3"/>
                  </a:cubicBezTo>
                  <a:cubicBezTo>
                    <a:pt x="29" y="4"/>
                    <a:pt x="30" y="5"/>
                    <a:pt x="31" y="7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2" y="39"/>
                    <a:pt x="32" y="39"/>
                    <a:pt x="32" y="39"/>
                  </a:cubicBezTo>
                  <a:lnTo>
                    <a:pt x="24" y="39"/>
                  </a:ln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2" y="22"/>
                  </a:cubicBezTo>
                  <a:cubicBezTo>
                    <a:pt x="22" y="21"/>
                    <a:pt x="21" y="21"/>
                    <a:pt x="21" y="21"/>
                  </a:cubicBezTo>
                  <a:cubicBezTo>
                    <a:pt x="20" y="21"/>
                    <a:pt x="19" y="21"/>
                    <a:pt x="18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3" y="21"/>
                    <a:pt x="11" y="21"/>
                    <a:pt x="10" y="22"/>
                  </a:cubicBezTo>
                  <a:cubicBezTo>
                    <a:pt x="8" y="23"/>
                    <a:pt x="8" y="25"/>
                    <a:pt x="8" y="26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9" y="31"/>
                    <a:pt x="10" y="31"/>
                  </a:cubicBezTo>
                  <a:cubicBezTo>
                    <a:pt x="10" y="32"/>
                    <a:pt x="11" y="32"/>
                    <a:pt x="12" y="32"/>
                  </a:cubicBezTo>
                  <a:cubicBezTo>
                    <a:pt x="13" y="33"/>
                    <a:pt x="14" y="33"/>
                    <a:pt x="15" y="33"/>
                  </a:cubicBezTo>
                  <a:cubicBezTo>
                    <a:pt x="16" y="33"/>
                    <a:pt x="17" y="33"/>
                    <a:pt x="18" y="32"/>
                  </a:cubicBezTo>
                  <a:cubicBezTo>
                    <a:pt x="19" y="32"/>
                    <a:pt x="20" y="32"/>
                    <a:pt x="21" y="31"/>
                  </a:cubicBezTo>
                  <a:cubicBezTo>
                    <a:pt x="21" y="31"/>
                    <a:pt x="22" y="30"/>
                    <a:pt x="23" y="30"/>
                  </a:cubicBezTo>
                  <a:cubicBezTo>
                    <a:pt x="23" y="29"/>
                    <a:pt x="24" y="28"/>
                    <a:pt x="24" y="28"/>
                  </a:cubicBezTo>
                  <a:lnTo>
                    <a:pt x="24" y="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4" name="Freeform 42">
              <a:extLst>
                <a:ext uri="{FF2B5EF4-FFF2-40B4-BE49-F238E27FC236}">
                  <a16:creationId xmlns:a16="http://schemas.microsoft.com/office/drawing/2014/main" id="{16B384B2-A2D9-4CB4-AF87-AF1004852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7436" y="6212575"/>
              <a:ext cx="78468" cy="99391"/>
            </a:xfrm>
            <a:custGeom>
              <a:avLst/>
              <a:gdLst>
                <a:gd name="T0" fmla="*/ 23 w 31"/>
                <a:gd name="T1" fmla="*/ 39 h 39"/>
                <a:gd name="T2" fmla="*/ 23 w 31"/>
                <a:gd name="T3" fmla="*/ 17 h 39"/>
                <a:gd name="T4" fmla="*/ 22 w 31"/>
                <a:gd name="T5" fmla="*/ 9 h 39"/>
                <a:gd name="T6" fmla="*/ 15 w 31"/>
                <a:gd name="T7" fmla="*/ 7 h 39"/>
                <a:gd name="T8" fmla="*/ 12 w 31"/>
                <a:gd name="T9" fmla="*/ 7 h 39"/>
                <a:gd name="T10" fmla="*/ 10 w 31"/>
                <a:gd name="T11" fmla="*/ 9 h 39"/>
                <a:gd name="T12" fmla="*/ 8 w 31"/>
                <a:gd name="T13" fmla="*/ 12 h 39"/>
                <a:gd name="T14" fmla="*/ 8 w 31"/>
                <a:gd name="T15" fmla="*/ 16 h 39"/>
                <a:gd name="T16" fmla="*/ 8 w 31"/>
                <a:gd name="T17" fmla="*/ 39 h 39"/>
                <a:gd name="T18" fmla="*/ 0 w 31"/>
                <a:gd name="T19" fmla="*/ 39 h 39"/>
                <a:gd name="T20" fmla="*/ 0 w 31"/>
                <a:gd name="T21" fmla="*/ 0 h 39"/>
                <a:gd name="T22" fmla="*/ 8 w 31"/>
                <a:gd name="T23" fmla="*/ 0 h 39"/>
                <a:gd name="T24" fmla="*/ 8 w 31"/>
                <a:gd name="T25" fmla="*/ 4 h 39"/>
                <a:gd name="T26" fmla="*/ 9 w 31"/>
                <a:gd name="T27" fmla="*/ 2 h 39"/>
                <a:gd name="T28" fmla="*/ 12 w 31"/>
                <a:gd name="T29" fmla="*/ 1 h 39"/>
                <a:gd name="T30" fmla="*/ 14 w 31"/>
                <a:gd name="T31" fmla="*/ 0 h 39"/>
                <a:gd name="T32" fmla="*/ 17 w 31"/>
                <a:gd name="T33" fmla="*/ 0 h 39"/>
                <a:gd name="T34" fmla="*/ 23 w 31"/>
                <a:gd name="T35" fmla="*/ 1 h 39"/>
                <a:gd name="T36" fmla="*/ 28 w 31"/>
                <a:gd name="T37" fmla="*/ 4 h 39"/>
                <a:gd name="T38" fmla="*/ 30 w 31"/>
                <a:gd name="T39" fmla="*/ 9 h 39"/>
                <a:gd name="T40" fmla="*/ 31 w 31"/>
                <a:gd name="T41" fmla="*/ 17 h 39"/>
                <a:gd name="T42" fmla="*/ 31 w 31"/>
                <a:gd name="T43" fmla="*/ 39 h 39"/>
                <a:gd name="T44" fmla="*/ 23 w 31"/>
                <a:gd name="T4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39">
                  <a:moveTo>
                    <a:pt x="23" y="39"/>
                  </a:moveTo>
                  <a:cubicBezTo>
                    <a:pt x="23" y="17"/>
                    <a:pt x="23" y="17"/>
                    <a:pt x="23" y="17"/>
                  </a:cubicBezTo>
                  <a:cubicBezTo>
                    <a:pt x="23" y="14"/>
                    <a:pt x="23" y="11"/>
                    <a:pt x="22" y="9"/>
                  </a:cubicBezTo>
                  <a:cubicBezTo>
                    <a:pt x="20" y="7"/>
                    <a:pt x="18" y="7"/>
                    <a:pt x="15" y="7"/>
                  </a:cubicBezTo>
                  <a:cubicBezTo>
                    <a:pt x="14" y="7"/>
                    <a:pt x="13" y="7"/>
                    <a:pt x="12" y="7"/>
                  </a:cubicBezTo>
                  <a:cubicBezTo>
                    <a:pt x="11" y="8"/>
                    <a:pt x="10" y="8"/>
                    <a:pt x="10" y="9"/>
                  </a:cubicBezTo>
                  <a:cubicBezTo>
                    <a:pt x="9" y="10"/>
                    <a:pt x="8" y="11"/>
                    <a:pt x="8" y="12"/>
                  </a:cubicBezTo>
                  <a:cubicBezTo>
                    <a:pt x="8" y="14"/>
                    <a:pt x="8" y="15"/>
                    <a:pt x="8" y="16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1" y="1"/>
                    <a:pt x="12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20" y="0"/>
                    <a:pt x="22" y="0"/>
                    <a:pt x="23" y="1"/>
                  </a:cubicBezTo>
                  <a:cubicBezTo>
                    <a:pt x="25" y="1"/>
                    <a:pt x="26" y="2"/>
                    <a:pt x="28" y="4"/>
                  </a:cubicBezTo>
                  <a:cubicBezTo>
                    <a:pt x="29" y="5"/>
                    <a:pt x="29" y="7"/>
                    <a:pt x="30" y="9"/>
                  </a:cubicBezTo>
                  <a:cubicBezTo>
                    <a:pt x="31" y="11"/>
                    <a:pt x="31" y="14"/>
                    <a:pt x="31" y="17"/>
                  </a:cubicBezTo>
                  <a:cubicBezTo>
                    <a:pt x="31" y="39"/>
                    <a:pt x="31" y="39"/>
                    <a:pt x="31" y="39"/>
                  </a:cubicBezTo>
                  <a:lnTo>
                    <a:pt x="23" y="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5" name="Freeform 43">
              <a:extLst>
                <a:ext uri="{FF2B5EF4-FFF2-40B4-BE49-F238E27FC236}">
                  <a16:creationId xmlns:a16="http://schemas.microsoft.com/office/drawing/2014/main" id="{DC309D60-84B9-4652-BEF1-F71EFAD3A40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084" y="6212575"/>
              <a:ext cx="73236" cy="101135"/>
            </a:xfrm>
            <a:custGeom>
              <a:avLst/>
              <a:gdLst>
                <a:gd name="T0" fmla="*/ 28 w 29"/>
                <a:gd name="T1" fmla="*/ 4 h 40"/>
                <a:gd name="T2" fmla="*/ 24 w 29"/>
                <a:gd name="T3" fmla="*/ 10 h 40"/>
                <a:gd name="T4" fmla="*/ 20 w 29"/>
                <a:gd name="T5" fmla="*/ 7 h 40"/>
                <a:gd name="T6" fmla="*/ 14 w 29"/>
                <a:gd name="T7" fmla="*/ 6 h 40"/>
                <a:gd name="T8" fmla="*/ 10 w 29"/>
                <a:gd name="T9" fmla="*/ 7 h 40"/>
                <a:gd name="T10" fmla="*/ 9 w 29"/>
                <a:gd name="T11" fmla="*/ 10 h 40"/>
                <a:gd name="T12" fmla="*/ 9 w 29"/>
                <a:gd name="T13" fmla="*/ 11 h 40"/>
                <a:gd name="T14" fmla="*/ 10 w 29"/>
                <a:gd name="T15" fmla="*/ 12 h 40"/>
                <a:gd name="T16" fmla="*/ 13 w 29"/>
                <a:gd name="T17" fmla="*/ 14 h 40"/>
                <a:gd name="T18" fmla="*/ 16 w 29"/>
                <a:gd name="T19" fmla="*/ 15 h 40"/>
                <a:gd name="T20" fmla="*/ 22 w 29"/>
                <a:gd name="T21" fmla="*/ 18 h 40"/>
                <a:gd name="T22" fmla="*/ 26 w 29"/>
                <a:gd name="T23" fmla="*/ 20 h 40"/>
                <a:gd name="T24" fmla="*/ 28 w 29"/>
                <a:gd name="T25" fmla="*/ 24 h 40"/>
                <a:gd name="T26" fmla="*/ 29 w 29"/>
                <a:gd name="T27" fmla="*/ 28 h 40"/>
                <a:gd name="T28" fmla="*/ 28 w 29"/>
                <a:gd name="T29" fmla="*/ 34 h 40"/>
                <a:gd name="T30" fmla="*/ 25 w 29"/>
                <a:gd name="T31" fmla="*/ 37 h 40"/>
                <a:gd name="T32" fmla="*/ 20 w 29"/>
                <a:gd name="T33" fmla="*/ 39 h 40"/>
                <a:gd name="T34" fmla="*/ 15 w 29"/>
                <a:gd name="T35" fmla="*/ 40 h 40"/>
                <a:gd name="T36" fmla="*/ 7 w 29"/>
                <a:gd name="T37" fmla="*/ 38 h 40"/>
                <a:gd name="T38" fmla="*/ 0 w 29"/>
                <a:gd name="T39" fmla="*/ 35 h 40"/>
                <a:gd name="T40" fmla="*/ 3 w 29"/>
                <a:gd name="T41" fmla="*/ 29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19 w 29"/>
                <a:gd name="T53" fmla="*/ 25 h 40"/>
                <a:gd name="T54" fmla="*/ 16 w 29"/>
                <a:gd name="T55" fmla="*/ 24 h 40"/>
                <a:gd name="T56" fmla="*/ 13 w 29"/>
                <a:gd name="T57" fmla="*/ 22 h 40"/>
                <a:gd name="T58" fmla="*/ 7 w 29"/>
                <a:gd name="T59" fmla="*/ 20 h 40"/>
                <a:gd name="T60" fmla="*/ 4 w 29"/>
                <a:gd name="T61" fmla="*/ 17 h 40"/>
                <a:gd name="T62" fmla="*/ 2 w 29"/>
                <a:gd name="T63" fmla="*/ 14 h 40"/>
                <a:gd name="T64" fmla="*/ 1 w 29"/>
                <a:gd name="T65" fmla="*/ 10 h 40"/>
                <a:gd name="T66" fmla="*/ 2 w 29"/>
                <a:gd name="T67" fmla="*/ 5 h 40"/>
                <a:gd name="T68" fmla="*/ 5 w 29"/>
                <a:gd name="T69" fmla="*/ 2 h 40"/>
                <a:gd name="T70" fmla="*/ 9 w 29"/>
                <a:gd name="T71" fmla="*/ 0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3" y="8"/>
                    <a:pt x="21" y="8"/>
                    <a:pt x="20" y="7"/>
                  </a:cubicBezTo>
                  <a:cubicBezTo>
                    <a:pt x="18" y="7"/>
                    <a:pt x="16" y="6"/>
                    <a:pt x="14" y="6"/>
                  </a:cubicBezTo>
                  <a:cubicBezTo>
                    <a:pt x="12" y="6"/>
                    <a:pt x="11" y="7"/>
                    <a:pt x="10" y="7"/>
                  </a:cubicBezTo>
                  <a:cubicBezTo>
                    <a:pt x="9" y="8"/>
                    <a:pt x="9" y="9"/>
                    <a:pt x="9" y="10"/>
                  </a:cubicBezTo>
                  <a:cubicBezTo>
                    <a:pt x="9" y="10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1" y="13"/>
                    <a:pt x="12" y="13"/>
                    <a:pt x="13" y="14"/>
                  </a:cubicBezTo>
                  <a:cubicBezTo>
                    <a:pt x="14" y="14"/>
                    <a:pt x="15" y="15"/>
                    <a:pt x="16" y="15"/>
                  </a:cubicBezTo>
                  <a:cubicBezTo>
                    <a:pt x="18" y="16"/>
                    <a:pt x="20" y="17"/>
                    <a:pt x="22" y="18"/>
                  </a:cubicBezTo>
                  <a:cubicBezTo>
                    <a:pt x="23" y="19"/>
                    <a:pt x="25" y="19"/>
                    <a:pt x="26" y="20"/>
                  </a:cubicBezTo>
                  <a:cubicBezTo>
                    <a:pt x="27" y="21"/>
                    <a:pt x="28" y="22"/>
                    <a:pt x="28" y="24"/>
                  </a:cubicBezTo>
                  <a:cubicBezTo>
                    <a:pt x="29" y="25"/>
                    <a:pt x="29" y="26"/>
                    <a:pt x="29" y="28"/>
                  </a:cubicBezTo>
                  <a:cubicBezTo>
                    <a:pt x="29" y="30"/>
                    <a:pt x="29" y="32"/>
                    <a:pt x="28" y="34"/>
                  </a:cubicBezTo>
                  <a:cubicBezTo>
                    <a:pt x="27" y="35"/>
                    <a:pt x="26" y="36"/>
                    <a:pt x="25" y="37"/>
                  </a:cubicBezTo>
                  <a:cubicBezTo>
                    <a:pt x="23" y="38"/>
                    <a:pt x="22" y="39"/>
                    <a:pt x="20" y="39"/>
                  </a:cubicBezTo>
                  <a:cubicBezTo>
                    <a:pt x="18" y="39"/>
                    <a:pt x="17" y="40"/>
                    <a:pt x="15" y="40"/>
                  </a:cubicBezTo>
                  <a:cubicBezTo>
                    <a:pt x="12" y="40"/>
                    <a:pt x="10" y="39"/>
                    <a:pt x="7" y="38"/>
                  </a:cubicBezTo>
                  <a:cubicBezTo>
                    <a:pt x="4" y="37"/>
                    <a:pt x="2" y="36"/>
                    <a:pt x="0" y="35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5" y="30"/>
                    <a:pt x="7" y="31"/>
                    <a:pt x="9" y="32"/>
                  </a:cubicBezTo>
                  <a:cubicBezTo>
                    <a:pt x="11" y="32"/>
                    <a:pt x="13" y="33"/>
                    <a:pt x="15" y="33"/>
                  </a:cubicBezTo>
                  <a:cubicBezTo>
                    <a:pt x="17" y="33"/>
                    <a:pt x="19" y="32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1" y="27"/>
                    <a:pt x="21" y="27"/>
                  </a:cubicBezTo>
                  <a:cubicBezTo>
                    <a:pt x="21" y="26"/>
                    <a:pt x="20" y="25"/>
                    <a:pt x="19" y="25"/>
                  </a:cubicBezTo>
                  <a:cubicBezTo>
                    <a:pt x="18" y="25"/>
                    <a:pt x="18" y="24"/>
                    <a:pt x="16" y="24"/>
                  </a:cubicBezTo>
                  <a:cubicBezTo>
                    <a:pt x="15" y="23"/>
                    <a:pt x="14" y="23"/>
                    <a:pt x="13" y="22"/>
                  </a:cubicBezTo>
                  <a:cubicBezTo>
                    <a:pt x="11" y="21"/>
                    <a:pt x="9" y="20"/>
                    <a:pt x="7" y="20"/>
                  </a:cubicBezTo>
                  <a:cubicBezTo>
                    <a:pt x="6" y="19"/>
                    <a:pt x="5" y="18"/>
                    <a:pt x="4" y="17"/>
                  </a:cubicBezTo>
                  <a:cubicBezTo>
                    <a:pt x="3" y="16"/>
                    <a:pt x="2" y="15"/>
                    <a:pt x="2" y="14"/>
                  </a:cubicBezTo>
                  <a:cubicBezTo>
                    <a:pt x="2" y="13"/>
                    <a:pt x="1" y="12"/>
                    <a:pt x="1" y="10"/>
                  </a:cubicBezTo>
                  <a:cubicBezTo>
                    <a:pt x="1" y="8"/>
                    <a:pt x="2" y="7"/>
                    <a:pt x="2" y="5"/>
                  </a:cubicBezTo>
                  <a:cubicBezTo>
                    <a:pt x="3" y="4"/>
                    <a:pt x="4" y="3"/>
                    <a:pt x="5" y="2"/>
                  </a:cubicBezTo>
                  <a:cubicBezTo>
                    <a:pt x="6" y="1"/>
                    <a:pt x="8" y="1"/>
                    <a:pt x="9" y="0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19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6" name="Freeform 44">
              <a:extLst>
                <a:ext uri="{FF2B5EF4-FFF2-40B4-BE49-F238E27FC236}">
                  <a16:creationId xmlns:a16="http://schemas.microsoft.com/office/drawing/2014/main" id="{A4440044-5486-483F-B652-7EE3849461B3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8782" y="6212575"/>
              <a:ext cx="122060" cy="99391"/>
            </a:xfrm>
            <a:custGeom>
              <a:avLst/>
              <a:gdLst>
                <a:gd name="T0" fmla="*/ 55 w 70"/>
                <a:gd name="T1" fmla="*/ 57 h 57"/>
                <a:gd name="T2" fmla="*/ 45 w 70"/>
                <a:gd name="T3" fmla="*/ 57 h 57"/>
                <a:gd name="T4" fmla="*/ 35 w 70"/>
                <a:gd name="T5" fmla="*/ 17 h 57"/>
                <a:gd name="T6" fmla="*/ 25 w 70"/>
                <a:gd name="T7" fmla="*/ 57 h 57"/>
                <a:gd name="T8" fmla="*/ 14 w 70"/>
                <a:gd name="T9" fmla="*/ 57 h 57"/>
                <a:gd name="T10" fmla="*/ 0 w 70"/>
                <a:gd name="T11" fmla="*/ 0 h 57"/>
                <a:gd name="T12" fmla="*/ 10 w 70"/>
                <a:gd name="T13" fmla="*/ 0 h 57"/>
                <a:gd name="T14" fmla="*/ 20 w 70"/>
                <a:gd name="T15" fmla="*/ 39 h 57"/>
                <a:gd name="T16" fmla="*/ 30 w 70"/>
                <a:gd name="T17" fmla="*/ 0 h 57"/>
                <a:gd name="T18" fmla="*/ 39 w 70"/>
                <a:gd name="T19" fmla="*/ 0 h 57"/>
                <a:gd name="T20" fmla="*/ 49 w 70"/>
                <a:gd name="T21" fmla="*/ 39 h 57"/>
                <a:gd name="T22" fmla="*/ 60 w 70"/>
                <a:gd name="T23" fmla="*/ 0 h 57"/>
                <a:gd name="T24" fmla="*/ 70 w 70"/>
                <a:gd name="T25" fmla="*/ 0 h 57"/>
                <a:gd name="T26" fmla="*/ 55 w 70"/>
                <a:gd name="T27" fmla="*/ 5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7">
                  <a:moveTo>
                    <a:pt x="55" y="57"/>
                  </a:moveTo>
                  <a:lnTo>
                    <a:pt x="45" y="57"/>
                  </a:lnTo>
                  <a:lnTo>
                    <a:pt x="35" y="17"/>
                  </a:lnTo>
                  <a:lnTo>
                    <a:pt x="25" y="57"/>
                  </a:lnTo>
                  <a:lnTo>
                    <a:pt x="14" y="5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0" y="39"/>
                  </a:lnTo>
                  <a:lnTo>
                    <a:pt x="30" y="0"/>
                  </a:lnTo>
                  <a:lnTo>
                    <a:pt x="39" y="0"/>
                  </a:lnTo>
                  <a:lnTo>
                    <a:pt x="49" y="39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7" name="Freeform 45">
              <a:extLst>
                <a:ext uri="{FF2B5EF4-FFF2-40B4-BE49-F238E27FC236}">
                  <a16:creationId xmlns:a16="http://schemas.microsoft.com/office/drawing/2014/main" id="{446771E9-EA09-4256-8955-FE392C07A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91304" y="6212575"/>
              <a:ext cx="83698" cy="101135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2 h 40"/>
                <a:gd name="T6" fmla="*/ 7 w 33"/>
                <a:gd name="T7" fmla="*/ 22 h 40"/>
                <a:gd name="T8" fmla="*/ 9 w 33"/>
                <a:gd name="T9" fmla="*/ 27 h 40"/>
                <a:gd name="T10" fmla="*/ 11 w 33"/>
                <a:gd name="T11" fmla="*/ 30 h 40"/>
                <a:gd name="T12" fmla="*/ 14 w 33"/>
                <a:gd name="T13" fmla="*/ 32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3 w 33"/>
                <a:gd name="T21" fmla="*/ 31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8 h 40"/>
                <a:gd name="T30" fmla="*/ 21 w 33"/>
                <a:gd name="T31" fmla="*/ 39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7 h 40"/>
                <a:gd name="T38" fmla="*/ 5 w 33"/>
                <a:gd name="T39" fmla="*/ 34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1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1 h 40"/>
                <a:gd name="T56" fmla="*/ 29 w 33"/>
                <a:gd name="T57" fmla="*/ 5 h 40"/>
                <a:gd name="T58" fmla="*/ 32 w 33"/>
                <a:gd name="T59" fmla="*/ 11 h 40"/>
                <a:gd name="T60" fmla="*/ 33 w 33"/>
                <a:gd name="T61" fmla="*/ 19 h 40"/>
                <a:gd name="T62" fmla="*/ 25 w 33"/>
                <a:gd name="T63" fmla="*/ 16 h 40"/>
                <a:gd name="T64" fmla="*/ 25 w 33"/>
                <a:gd name="T65" fmla="*/ 12 h 40"/>
                <a:gd name="T66" fmla="*/ 23 w 33"/>
                <a:gd name="T67" fmla="*/ 9 h 40"/>
                <a:gd name="T68" fmla="*/ 20 w 33"/>
                <a:gd name="T69" fmla="*/ 7 h 40"/>
                <a:gd name="T70" fmla="*/ 16 w 33"/>
                <a:gd name="T71" fmla="*/ 6 h 40"/>
                <a:gd name="T72" fmla="*/ 13 w 33"/>
                <a:gd name="T73" fmla="*/ 7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6 h 40"/>
                <a:gd name="T80" fmla="*/ 25 w 33"/>
                <a:gd name="T81" fmla="*/ 1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19"/>
                    <a:pt x="33" y="20"/>
                    <a:pt x="33" y="21"/>
                  </a:cubicBezTo>
                  <a:cubicBezTo>
                    <a:pt x="33" y="21"/>
                    <a:pt x="33" y="22"/>
                    <a:pt x="33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8" y="24"/>
                    <a:pt x="8" y="26"/>
                    <a:pt x="9" y="27"/>
                  </a:cubicBezTo>
                  <a:cubicBezTo>
                    <a:pt x="9" y="28"/>
                    <a:pt x="10" y="29"/>
                    <a:pt x="11" y="30"/>
                  </a:cubicBezTo>
                  <a:cubicBezTo>
                    <a:pt x="12" y="31"/>
                    <a:pt x="13" y="32"/>
                    <a:pt x="14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2"/>
                    <a:pt x="21" y="32"/>
                    <a:pt x="22" y="32"/>
                  </a:cubicBezTo>
                  <a:cubicBezTo>
                    <a:pt x="22" y="32"/>
                    <a:pt x="23" y="31"/>
                    <a:pt x="23" y="31"/>
                  </a:cubicBezTo>
                  <a:cubicBezTo>
                    <a:pt x="24" y="31"/>
                    <a:pt x="25" y="30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5"/>
                    <a:pt x="28" y="36"/>
                    <a:pt x="27" y="37"/>
                  </a:cubicBezTo>
                  <a:cubicBezTo>
                    <a:pt x="26" y="37"/>
                    <a:pt x="25" y="38"/>
                    <a:pt x="24" y="38"/>
                  </a:cubicBezTo>
                  <a:cubicBezTo>
                    <a:pt x="23" y="39"/>
                    <a:pt x="22" y="39"/>
                    <a:pt x="21" y="39"/>
                  </a:cubicBezTo>
                  <a:cubicBezTo>
                    <a:pt x="20" y="39"/>
                    <a:pt x="18" y="40"/>
                    <a:pt x="17" y="40"/>
                  </a:cubicBezTo>
                  <a:cubicBezTo>
                    <a:pt x="15" y="40"/>
                    <a:pt x="13" y="39"/>
                    <a:pt x="12" y="39"/>
                  </a:cubicBezTo>
                  <a:cubicBezTo>
                    <a:pt x="11" y="38"/>
                    <a:pt x="9" y="38"/>
                    <a:pt x="8" y="37"/>
                  </a:cubicBezTo>
                  <a:cubicBezTo>
                    <a:pt x="7" y="36"/>
                    <a:pt x="6" y="35"/>
                    <a:pt x="5" y="34"/>
                  </a:cubicBezTo>
                  <a:cubicBezTo>
                    <a:pt x="4" y="34"/>
                    <a:pt x="3" y="32"/>
                    <a:pt x="3" y="31"/>
                  </a:cubicBezTo>
                  <a:cubicBezTo>
                    <a:pt x="2" y="29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6"/>
                    <a:pt x="0" y="13"/>
                    <a:pt x="1" y="11"/>
                  </a:cubicBezTo>
                  <a:cubicBezTo>
                    <a:pt x="2" y="8"/>
                    <a:pt x="3" y="6"/>
                    <a:pt x="5" y="5"/>
                  </a:cubicBezTo>
                  <a:cubicBezTo>
                    <a:pt x="6" y="3"/>
                    <a:pt x="8" y="2"/>
                    <a:pt x="10" y="1"/>
                  </a:cubicBezTo>
                  <a:cubicBezTo>
                    <a:pt x="12" y="0"/>
                    <a:pt x="14" y="0"/>
                    <a:pt x="17" y="0"/>
                  </a:cubicBezTo>
                  <a:cubicBezTo>
                    <a:pt x="20" y="0"/>
                    <a:pt x="22" y="0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0" y="7"/>
                    <a:pt x="31" y="9"/>
                    <a:pt x="32" y="11"/>
                  </a:cubicBezTo>
                  <a:cubicBezTo>
                    <a:pt x="33" y="14"/>
                    <a:pt x="33" y="16"/>
                    <a:pt x="33" y="19"/>
                  </a:cubicBezTo>
                  <a:close/>
                  <a:moveTo>
                    <a:pt x="25" y="16"/>
                  </a:moveTo>
                  <a:cubicBezTo>
                    <a:pt x="25" y="15"/>
                    <a:pt x="25" y="13"/>
                    <a:pt x="25" y="12"/>
                  </a:cubicBezTo>
                  <a:cubicBezTo>
                    <a:pt x="24" y="11"/>
                    <a:pt x="24" y="10"/>
                    <a:pt x="23" y="9"/>
                  </a:cubicBezTo>
                  <a:cubicBezTo>
                    <a:pt x="22" y="8"/>
                    <a:pt x="21" y="8"/>
                    <a:pt x="20" y="7"/>
                  </a:cubicBezTo>
                  <a:cubicBezTo>
                    <a:pt x="19" y="7"/>
                    <a:pt x="18" y="6"/>
                    <a:pt x="16" y="6"/>
                  </a:cubicBezTo>
                  <a:cubicBezTo>
                    <a:pt x="15" y="6"/>
                    <a:pt x="14" y="7"/>
                    <a:pt x="13" y="7"/>
                  </a:cubicBezTo>
                  <a:cubicBezTo>
                    <a:pt x="12" y="7"/>
                    <a:pt x="11" y="8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3"/>
                    <a:pt x="8" y="14"/>
                    <a:pt x="8" y="16"/>
                  </a:cubicBezTo>
                  <a:lnTo>
                    <a:pt x="25" y="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8" name="Freeform 46">
              <a:extLst>
                <a:ext uri="{FF2B5EF4-FFF2-40B4-BE49-F238E27FC236}">
                  <a16:creationId xmlns:a16="http://schemas.microsoft.com/office/drawing/2014/main" id="{FE985025-CAA5-44F2-9174-87CD1D8BA182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927" y="6212575"/>
              <a:ext cx="57543" cy="99391"/>
            </a:xfrm>
            <a:custGeom>
              <a:avLst/>
              <a:gdLst>
                <a:gd name="T0" fmla="*/ 21 w 23"/>
                <a:gd name="T1" fmla="*/ 8 h 39"/>
                <a:gd name="T2" fmla="*/ 18 w 23"/>
                <a:gd name="T3" fmla="*/ 7 h 39"/>
                <a:gd name="T4" fmla="*/ 15 w 23"/>
                <a:gd name="T5" fmla="*/ 7 h 39"/>
                <a:gd name="T6" fmla="*/ 10 w 23"/>
                <a:gd name="T7" fmla="*/ 9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0 h 39"/>
                <a:gd name="T16" fmla="*/ 8 w 23"/>
                <a:gd name="T17" fmla="*/ 0 h 39"/>
                <a:gd name="T18" fmla="*/ 8 w 23"/>
                <a:gd name="T19" fmla="*/ 4 h 39"/>
                <a:gd name="T20" fmla="*/ 9 w 23"/>
                <a:gd name="T21" fmla="*/ 2 h 39"/>
                <a:gd name="T22" fmla="*/ 11 w 23"/>
                <a:gd name="T23" fmla="*/ 1 h 39"/>
                <a:gd name="T24" fmla="*/ 14 w 23"/>
                <a:gd name="T25" fmla="*/ 0 h 39"/>
                <a:gd name="T26" fmla="*/ 16 w 23"/>
                <a:gd name="T27" fmla="*/ 0 h 39"/>
                <a:gd name="T28" fmla="*/ 20 w 23"/>
                <a:gd name="T29" fmla="*/ 0 h 39"/>
                <a:gd name="T30" fmla="*/ 23 w 23"/>
                <a:gd name="T31" fmla="*/ 1 h 39"/>
                <a:gd name="T32" fmla="*/ 21 w 23"/>
                <a:gd name="T33" fmla="*/ 8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8"/>
                  </a:moveTo>
                  <a:cubicBezTo>
                    <a:pt x="20" y="8"/>
                    <a:pt x="19" y="8"/>
                    <a:pt x="18" y="7"/>
                  </a:cubicBezTo>
                  <a:cubicBezTo>
                    <a:pt x="17" y="7"/>
                    <a:pt x="16" y="7"/>
                    <a:pt x="15" y="7"/>
                  </a:cubicBezTo>
                  <a:cubicBezTo>
                    <a:pt x="13" y="7"/>
                    <a:pt x="11" y="8"/>
                    <a:pt x="10" y="9"/>
                  </a:cubicBezTo>
                  <a:cubicBezTo>
                    <a:pt x="8" y="11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3"/>
                    <a:pt x="9" y="3"/>
                    <a:pt x="9" y="2"/>
                  </a:cubicBezTo>
                  <a:cubicBezTo>
                    <a:pt x="10" y="2"/>
                    <a:pt x="10" y="1"/>
                    <a:pt x="11" y="1"/>
                  </a:cubicBezTo>
                  <a:cubicBezTo>
                    <a:pt x="12" y="0"/>
                    <a:pt x="13" y="0"/>
                    <a:pt x="14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8" y="0"/>
                    <a:pt x="19" y="0"/>
                    <a:pt x="20" y="0"/>
                  </a:cubicBezTo>
                  <a:cubicBezTo>
                    <a:pt x="21" y="0"/>
                    <a:pt x="22" y="1"/>
                    <a:pt x="23" y="1"/>
                  </a:cubicBezTo>
                  <a:lnTo>
                    <a:pt x="21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29" name="Freeform 47">
              <a:extLst>
                <a:ext uri="{FF2B5EF4-FFF2-40B4-BE49-F238E27FC236}">
                  <a16:creationId xmlns:a16="http://schemas.microsoft.com/office/drawing/2014/main" id="{1105FBBE-AD06-4F22-94D8-E2E98185F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6494" y="6284068"/>
              <a:ext cx="29644" cy="29643"/>
            </a:xfrm>
            <a:custGeom>
              <a:avLst/>
              <a:gdLst>
                <a:gd name="T0" fmla="*/ 12 w 12"/>
                <a:gd name="T1" fmla="*/ 6 h 12"/>
                <a:gd name="T2" fmla="*/ 11 w 12"/>
                <a:gd name="T3" fmla="*/ 8 h 12"/>
                <a:gd name="T4" fmla="*/ 10 w 12"/>
                <a:gd name="T5" fmla="*/ 10 h 12"/>
                <a:gd name="T6" fmla="*/ 8 w 12"/>
                <a:gd name="T7" fmla="*/ 11 h 12"/>
                <a:gd name="T8" fmla="*/ 6 w 12"/>
                <a:gd name="T9" fmla="*/ 12 h 12"/>
                <a:gd name="T10" fmla="*/ 3 w 12"/>
                <a:gd name="T11" fmla="*/ 11 h 12"/>
                <a:gd name="T12" fmla="*/ 2 w 12"/>
                <a:gd name="T13" fmla="*/ 10 h 12"/>
                <a:gd name="T14" fmla="*/ 0 w 12"/>
                <a:gd name="T15" fmla="*/ 8 h 12"/>
                <a:gd name="T16" fmla="*/ 0 w 12"/>
                <a:gd name="T17" fmla="*/ 6 h 12"/>
                <a:gd name="T18" fmla="*/ 0 w 12"/>
                <a:gd name="T19" fmla="*/ 4 h 12"/>
                <a:gd name="T20" fmla="*/ 2 w 12"/>
                <a:gd name="T21" fmla="*/ 2 h 12"/>
                <a:gd name="T22" fmla="*/ 3 w 12"/>
                <a:gd name="T23" fmla="*/ 0 h 12"/>
                <a:gd name="T24" fmla="*/ 6 w 12"/>
                <a:gd name="T25" fmla="*/ 0 h 12"/>
                <a:gd name="T26" fmla="*/ 8 w 12"/>
                <a:gd name="T27" fmla="*/ 0 h 12"/>
                <a:gd name="T28" fmla="*/ 10 w 12"/>
                <a:gd name="T29" fmla="*/ 2 h 12"/>
                <a:gd name="T30" fmla="*/ 11 w 12"/>
                <a:gd name="T31" fmla="*/ 4 h 12"/>
                <a:gd name="T32" fmla="*/ 12 w 12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7"/>
                    <a:pt x="11" y="7"/>
                    <a:pt x="11" y="8"/>
                  </a:cubicBezTo>
                  <a:cubicBezTo>
                    <a:pt x="11" y="9"/>
                    <a:pt x="10" y="9"/>
                    <a:pt x="10" y="10"/>
                  </a:cubicBezTo>
                  <a:cubicBezTo>
                    <a:pt x="9" y="10"/>
                    <a:pt x="9" y="11"/>
                    <a:pt x="8" y="11"/>
                  </a:cubicBezTo>
                  <a:cubicBezTo>
                    <a:pt x="7" y="11"/>
                    <a:pt x="7" y="12"/>
                    <a:pt x="6" y="12"/>
                  </a:cubicBezTo>
                  <a:cubicBezTo>
                    <a:pt x="5" y="12"/>
                    <a:pt x="4" y="11"/>
                    <a:pt x="3" y="11"/>
                  </a:cubicBezTo>
                  <a:cubicBezTo>
                    <a:pt x="3" y="11"/>
                    <a:pt x="2" y="10"/>
                    <a:pt x="2" y="10"/>
                  </a:cubicBezTo>
                  <a:cubicBezTo>
                    <a:pt x="1" y="9"/>
                    <a:pt x="1" y="9"/>
                    <a:pt x="0" y="8"/>
                  </a:cubicBezTo>
                  <a:cubicBezTo>
                    <a:pt x="0" y="7"/>
                    <a:pt x="0" y="7"/>
                    <a:pt x="0" y="6"/>
                  </a:cubicBezTo>
                  <a:cubicBezTo>
                    <a:pt x="0" y="5"/>
                    <a:pt x="0" y="4"/>
                    <a:pt x="0" y="4"/>
                  </a:cubicBezTo>
                  <a:cubicBezTo>
                    <a:pt x="1" y="3"/>
                    <a:pt x="1" y="2"/>
                    <a:pt x="2" y="2"/>
                  </a:cubicBezTo>
                  <a:cubicBezTo>
                    <a:pt x="2" y="1"/>
                    <a:pt x="3" y="1"/>
                    <a:pt x="3" y="0"/>
                  </a:cubicBezTo>
                  <a:cubicBezTo>
                    <a:pt x="4" y="0"/>
                    <a:pt x="5" y="0"/>
                    <a:pt x="6" y="0"/>
                  </a:cubicBezTo>
                  <a:cubicBezTo>
                    <a:pt x="7" y="0"/>
                    <a:pt x="7" y="0"/>
                    <a:pt x="8" y="0"/>
                  </a:cubicBezTo>
                  <a:cubicBezTo>
                    <a:pt x="9" y="1"/>
                    <a:pt x="9" y="1"/>
                    <a:pt x="10" y="2"/>
                  </a:cubicBezTo>
                  <a:cubicBezTo>
                    <a:pt x="10" y="2"/>
                    <a:pt x="11" y="3"/>
                    <a:pt x="11" y="4"/>
                  </a:cubicBezTo>
                  <a:cubicBezTo>
                    <a:pt x="11" y="4"/>
                    <a:pt x="12" y="5"/>
                    <a:pt x="12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0" name="Freeform 48">
              <a:extLst>
                <a:ext uri="{FF2B5EF4-FFF2-40B4-BE49-F238E27FC236}">
                  <a16:creationId xmlns:a16="http://schemas.microsoft.com/office/drawing/2014/main" id="{8141824A-6AD4-4B53-B837-71461DD53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8115" y="6388691"/>
              <a:ext cx="94161" cy="130778"/>
            </a:xfrm>
            <a:custGeom>
              <a:avLst/>
              <a:gdLst>
                <a:gd name="T0" fmla="*/ 32 w 54"/>
                <a:gd name="T1" fmla="*/ 12 h 75"/>
                <a:gd name="T2" fmla="*/ 32 w 54"/>
                <a:gd name="T3" fmla="*/ 75 h 75"/>
                <a:gd name="T4" fmla="*/ 22 w 54"/>
                <a:gd name="T5" fmla="*/ 75 h 75"/>
                <a:gd name="T6" fmla="*/ 22 w 54"/>
                <a:gd name="T7" fmla="*/ 12 h 75"/>
                <a:gd name="T8" fmla="*/ 0 w 54"/>
                <a:gd name="T9" fmla="*/ 12 h 75"/>
                <a:gd name="T10" fmla="*/ 0 w 54"/>
                <a:gd name="T11" fmla="*/ 0 h 75"/>
                <a:gd name="T12" fmla="*/ 54 w 54"/>
                <a:gd name="T13" fmla="*/ 0 h 75"/>
                <a:gd name="T14" fmla="*/ 54 w 54"/>
                <a:gd name="T15" fmla="*/ 12 h 75"/>
                <a:gd name="T16" fmla="*/ 32 w 54"/>
                <a:gd name="T17" fmla="*/ 1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4" h="75">
                  <a:moveTo>
                    <a:pt x="32" y="12"/>
                  </a:moveTo>
                  <a:lnTo>
                    <a:pt x="32" y="75"/>
                  </a:lnTo>
                  <a:lnTo>
                    <a:pt x="22" y="75"/>
                  </a:lnTo>
                  <a:lnTo>
                    <a:pt x="22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54" y="0"/>
                  </a:lnTo>
                  <a:lnTo>
                    <a:pt x="54" y="12"/>
                  </a:lnTo>
                  <a:lnTo>
                    <a:pt x="32" y="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1" name="Freeform 49">
              <a:extLst>
                <a:ext uri="{FF2B5EF4-FFF2-40B4-BE49-F238E27FC236}">
                  <a16:creationId xmlns:a16="http://schemas.microsoft.com/office/drawing/2014/main" id="{1CEF1D95-CD6C-417A-9539-CB4DBAA5E07D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13" y="6383459"/>
              <a:ext cx="78468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9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1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2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9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7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8" y="17"/>
                    <a:pt x="9" y="17"/>
                  </a:cubicBezTo>
                  <a:cubicBezTo>
                    <a:pt x="10" y="16"/>
                    <a:pt x="10" y="16"/>
                    <a:pt x="11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8" y="20"/>
                    <a:pt x="29" y="22"/>
                    <a:pt x="30" y="24"/>
                  </a:cubicBezTo>
                  <a:cubicBezTo>
                    <a:pt x="30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2" name="Freeform 50">
              <a:extLst>
                <a:ext uri="{FF2B5EF4-FFF2-40B4-BE49-F238E27FC236}">
                  <a16:creationId xmlns:a16="http://schemas.microsoft.com/office/drawing/2014/main" id="{BF6CB5D3-9648-4D73-AB7C-5374814E5BA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5618" y="6418333"/>
              <a:ext cx="85443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7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2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3 w 33"/>
                <a:gd name="T73" fmla="*/ 8 h 40"/>
                <a:gd name="T74" fmla="*/ 10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9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19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2" y="32"/>
                    <a:pt x="23" y="32"/>
                    <a:pt x="23" y="32"/>
                  </a:cubicBezTo>
                  <a:cubicBezTo>
                    <a:pt x="24" y="31"/>
                    <a:pt x="25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1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5" y="13"/>
                  </a:cubicBezTo>
                  <a:cubicBezTo>
                    <a:pt x="24" y="12"/>
                    <a:pt x="24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0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3" name="Freeform 51">
              <a:extLst>
                <a:ext uri="{FF2B5EF4-FFF2-40B4-BE49-F238E27FC236}">
                  <a16:creationId xmlns:a16="http://schemas.microsoft.com/office/drawing/2014/main" id="{55F0E322-3AEE-482E-8E59-9FB04FACA9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57320" y="6383459"/>
              <a:ext cx="83698" cy="137753"/>
            </a:xfrm>
            <a:custGeom>
              <a:avLst/>
              <a:gdLst>
                <a:gd name="T0" fmla="*/ 33 w 33"/>
                <a:gd name="T1" fmla="*/ 35 h 54"/>
                <a:gd name="T2" fmla="*/ 31 w 33"/>
                <a:gd name="T3" fmla="*/ 43 h 54"/>
                <a:gd name="T4" fmla="*/ 28 w 33"/>
                <a:gd name="T5" fmla="*/ 49 h 54"/>
                <a:gd name="T6" fmla="*/ 23 w 33"/>
                <a:gd name="T7" fmla="*/ 53 h 54"/>
                <a:gd name="T8" fmla="*/ 17 w 33"/>
                <a:gd name="T9" fmla="*/ 54 h 54"/>
                <a:gd name="T10" fmla="*/ 12 w 33"/>
                <a:gd name="T11" fmla="*/ 53 h 54"/>
                <a:gd name="T12" fmla="*/ 8 w 33"/>
                <a:gd name="T13" fmla="*/ 50 h 54"/>
                <a:gd name="T14" fmla="*/ 8 w 33"/>
                <a:gd name="T15" fmla="*/ 53 h 54"/>
                <a:gd name="T16" fmla="*/ 0 w 33"/>
                <a:gd name="T17" fmla="*/ 53 h 54"/>
                <a:gd name="T18" fmla="*/ 0 w 33"/>
                <a:gd name="T19" fmla="*/ 4 h 54"/>
                <a:gd name="T20" fmla="*/ 8 w 33"/>
                <a:gd name="T21" fmla="*/ 0 h 54"/>
                <a:gd name="T22" fmla="*/ 8 w 33"/>
                <a:gd name="T23" fmla="*/ 19 h 54"/>
                <a:gd name="T24" fmla="*/ 10 w 33"/>
                <a:gd name="T25" fmla="*/ 17 h 54"/>
                <a:gd name="T26" fmla="*/ 12 w 33"/>
                <a:gd name="T27" fmla="*/ 16 h 54"/>
                <a:gd name="T28" fmla="*/ 14 w 33"/>
                <a:gd name="T29" fmla="*/ 14 h 54"/>
                <a:gd name="T30" fmla="*/ 18 w 33"/>
                <a:gd name="T31" fmla="*/ 14 h 54"/>
                <a:gd name="T32" fmla="*/ 24 w 33"/>
                <a:gd name="T33" fmla="*/ 15 h 54"/>
                <a:gd name="T34" fmla="*/ 28 w 33"/>
                <a:gd name="T35" fmla="*/ 19 h 54"/>
                <a:gd name="T36" fmla="*/ 31 w 33"/>
                <a:gd name="T37" fmla="*/ 25 h 54"/>
                <a:gd name="T38" fmla="*/ 33 w 33"/>
                <a:gd name="T39" fmla="*/ 35 h 54"/>
                <a:gd name="T40" fmla="*/ 25 w 33"/>
                <a:gd name="T41" fmla="*/ 35 h 54"/>
                <a:gd name="T42" fmla="*/ 23 w 33"/>
                <a:gd name="T43" fmla="*/ 24 h 54"/>
                <a:gd name="T44" fmla="*/ 16 w 33"/>
                <a:gd name="T45" fmla="*/ 21 h 54"/>
                <a:gd name="T46" fmla="*/ 14 w 33"/>
                <a:gd name="T47" fmla="*/ 21 h 54"/>
                <a:gd name="T48" fmla="*/ 11 w 33"/>
                <a:gd name="T49" fmla="*/ 23 h 54"/>
                <a:gd name="T50" fmla="*/ 9 w 33"/>
                <a:gd name="T51" fmla="*/ 24 h 54"/>
                <a:gd name="T52" fmla="*/ 8 w 33"/>
                <a:gd name="T53" fmla="*/ 26 h 54"/>
                <a:gd name="T54" fmla="*/ 8 w 33"/>
                <a:gd name="T55" fmla="*/ 42 h 54"/>
                <a:gd name="T56" fmla="*/ 9 w 33"/>
                <a:gd name="T57" fmla="*/ 44 h 54"/>
                <a:gd name="T58" fmla="*/ 11 w 33"/>
                <a:gd name="T59" fmla="*/ 45 h 54"/>
                <a:gd name="T60" fmla="*/ 14 w 33"/>
                <a:gd name="T61" fmla="*/ 47 h 54"/>
                <a:gd name="T62" fmla="*/ 17 w 33"/>
                <a:gd name="T63" fmla="*/ 47 h 54"/>
                <a:gd name="T64" fmla="*/ 23 w 33"/>
                <a:gd name="T65" fmla="*/ 44 h 54"/>
                <a:gd name="T66" fmla="*/ 25 w 33"/>
                <a:gd name="T67" fmla="*/ 3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54">
                  <a:moveTo>
                    <a:pt x="33" y="35"/>
                  </a:moveTo>
                  <a:cubicBezTo>
                    <a:pt x="33" y="38"/>
                    <a:pt x="32" y="41"/>
                    <a:pt x="31" y="43"/>
                  </a:cubicBezTo>
                  <a:cubicBezTo>
                    <a:pt x="30" y="46"/>
                    <a:pt x="29" y="48"/>
                    <a:pt x="28" y="49"/>
                  </a:cubicBezTo>
                  <a:cubicBezTo>
                    <a:pt x="27" y="51"/>
                    <a:pt x="25" y="52"/>
                    <a:pt x="23" y="53"/>
                  </a:cubicBezTo>
                  <a:cubicBezTo>
                    <a:pt x="21" y="54"/>
                    <a:pt x="19" y="54"/>
                    <a:pt x="17" y="54"/>
                  </a:cubicBezTo>
                  <a:cubicBezTo>
                    <a:pt x="16" y="54"/>
                    <a:pt x="14" y="54"/>
                    <a:pt x="12" y="53"/>
                  </a:cubicBezTo>
                  <a:cubicBezTo>
                    <a:pt x="10" y="52"/>
                    <a:pt x="9" y="51"/>
                    <a:pt x="8" y="50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9"/>
                    <a:pt x="8" y="19"/>
                    <a:pt x="8" y="19"/>
                  </a:cubicBezTo>
                  <a:cubicBezTo>
                    <a:pt x="9" y="18"/>
                    <a:pt x="9" y="17"/>
                    <a:pt x="10" y="17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3" y="15"/>
                    <a:pt x="14" y="14"/>
                  </a:cubicBezTo>
                  <a:cubicBezTo>
                    <a:pt x="15" y="14"/>
                    <a:pt x="16" y="14"/>
                    <a:pt x="18" y="14"/>
                  </a:cubicBezTo>
                  <a:cubicBezTo>
                    <a:pt x="20" y="14"/>
                    <a:pt x="22" y="14"/>
                    <a:pt x="24" y="15"/>
                  </a:cubicBezTo>
                  <a:cubicBezTo>
                    <a:pt x="25" y="16"/>
                    <a:pt x="27" y="17"/>
                    <a:pt x="28" y="19"/>
                  </a:cubicBezTo>
                  <a:cubicBezTo>
                    <a:pt x="30" y="21"/>
                    <a:pt x="31" y="23"/>
                    <a:pt x="31" y="25"/>
                  </a:cubicBezTo>
                  <a:cubicBezTo>
                    <a:pt x="32" y="28"/>
                    <a:pt x="33" y="31"/>
                    <a:pt x="33" y="35"/>
                  </a:cubicBezTo>
                  <a:close/>
                  <a:moveTo>
                    <a:pt x="25" y="35"/>
                  </a:moveTo>
                  <a:cubicBezTo>
                    <a:pt x="25" y="30"/>
                    <a:pt x="24" y="27"/>
                    <a:pt x="23" y="24"/>
                  </a:cubicBezTo>
                  <a:cubicBezTo>
                    <a:pt x="21" y="22"/>
                    <a:pt x="19" y="21"/>
                    <a:pt x="16" y="21"/>
                  </a:cubicBezTo>
                  <a:cubicBezTo>
                    <a:pt x="15" y="21"/>
                    <a:pt x="15" y="21"/>
                    <a:pt x="14" y="21"/>
                  </a:cubicBezTo>
                  <a:cubicBezTo>
                    <a:pt x="13" y="22"/>
                    <a:pt x="12" y="22"/>
                    <a:pt x="11" y="23"/>
                  </a:cubicBezTo>
                  <a:cubicBezTo>
                    <a:pt x="11" y="23"/>
                    <a:pt x="10" y="24"/>
                    <a:pt x="9" y="24"/>
                  </a:cubicBezTo>
                  <a:cubicBezTo>
                    <a:pt x="9" y="25"/>
                    <a:pt x="8" y="25"/>
                    <a:pt x="8" y="26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8" y="43"/>
                    <a:pt x="9" y="43"/>
                    <a:pt x="9" y="44"/>
                  </a:cubicBezTo>
                  <a:cubicBezTo>
                    <a:pt x="10" y="44"/>
                    <a:pt x="11" y="45"/>
                    <a:pt x="11" y="45"/>
                  </a:cubicBezTo>
                  <a:cubicBezTo>
                    <a:pt x="12" y="46"/>
                    <a:pt x="13" y="46"/>
                    <a:pt x="14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9" y="47"/>
                    <a:pt x="21" y="46"/>
                    <a:pt x="23" y="44"/>
                  </a:cubicBezTo>
                  <a:cubicBezTo>
                    <a:pt x="24" y="42"/>
                    <a:pt x="25" y="39"/>
                    <a:pt x="25" y="3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4" name="Freeform 52">
              <a:extLst>
                <a:ext uri="{FF2B5EF4-FFF2-40B4-BE49-F238E27FC236}">
                  <a16:creationId xmlns:a16="http://schemas.microsoft.com/office/drawing/2014/main" id="{0D3C59AD-7CCF-4166-9D21-3C34848893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6713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1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1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4" y="31"/>
                    <a:pt x="24" y="31"/>
                    <a:pt x="25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1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8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5" name="Freeform 53">
              <a:extLst>
                <a:ext uri="{FF2B5EF4-FFF2-40B4-BE49-F238E27FC236}">
                  <a16:creationId xmlns:a16="http://schemas.microsoft.com/office/drawing/2014/main" id="{9C9DA4CE-7B4D-42AE-9264-92B7D7757D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873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1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2" y="54"/>
                    <a:pt x="11" y="54"/>
                  </a:cubicBezTo>
                  <a:cubicBezTo>
                    <a:pt x="10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6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2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6" name="Freeform 54">
              <a:extLst>
                <a:ext uri="{FF2B5EF4-FFF2-40B4-BE49-F238E27FC236}">
                  <a16:creationId xmlns:a16="http://schemas.microsoft.com/office/drawing/2014/main" id="{DBCBD0D2-5C9C-4B12-8CF8-9CA320825E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8877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7" name="Freeform 55">
              <a:extLst>
                <a:ext uri="{FF2B5EF4-FFF2-40B4-BE49-F238E27FC236}">
                  <a16:creationId xmlns:a16="http://schemas.microsoft.com/office/drawing/2014/main" id="{CDCFBD31-7961-4587-876E-1FAFC4E74AB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90370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2 w 33"/>
                <a:gd name="T5" fmla="*/ 23 h 40"/>
                <a:gd name="T6" fmla="*/ 7 w 33"/>
                <a:gd name="T7" fmla="*/ 23 h 40"/>
                <a:gd name="T8" fmla="*/ 8 w 33"/>
                <a:gd name="T9" fmla="*/ 28 h 40"/>
                <a:gd name="T10" fmla="*/ 10 w 33"/>
                <a:gd name="T11" fmla="*/ 31 h 40"/>
                <a:gd name="T12" fmla="*/ 13 w 33"/>
                <a:gd name="T13" fmla="*/ 33 h 40"/>
                <a:gd name="T14" fmla="*/ 17 w 33"/>
                <a:gd name="T15" fmla="*/ 33 h 40"/>
                <a:gd name="T16" fmla="*/ 19 w 33"/>
                <a:gd name="T17" fmla="*/ 33 h 40"/>
                <a:gd name="T18" fmla="*/ 21 w 33"/>
                <a:gd name="T19" fmla="*/ 32 h 40"/>
                <a:gd name="T20" fmla="*/ 23 w 33"/>
                <a:gd name="T21" fmla="*/ 32 h 40"/>
                <a:gd name="T22" fmla="*/ 25 w 33"/>
                <a:gd name="T23" fmla="*/ 30 h 40"/>
                <a:gd name="T24" fmla="*/ 29 w 33"/>
                <a:gd name="T25" fmla="*/ 35 h 40"/>
                <a:gd name="T26" fmla="*/ 27 w 33"/>
                <a:gd name="T27" fmla="*/ 37 h 40"/>
                <a:gd name="T28" fmla="*/ 24 w 33"/>
                <a:gd name="T29" fmla="*/ 39 h 40"/>
                <a:gd name="T30" fmla="*/ 20 w 33"/>
                <a:gd name="T31" fmla="*/ 40 h 40"/>
                <a:gd name="T32" fmla="*/ 16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2 w 33"/>
                <a:gd name="T41" fmla="*/ 31 h 40"/>
                <a:gd name="T42" fmla="*/ 0 w 33"/>
                <a:gd name="T43" fmla="*/ 26 h 40"/>
                <a:gd name="T44" fmla="*/ 0 w 33"/>
                <a:gd name="T45" fmla="*/ 20 h 40"/>
                <a:gd name="T46" fmla="*/ 1 w 33"/>
                <a:gd name="T47" fmla="*/ 12 h 40"/>
                <a:gd name="T48" fmla="*/ 4 w 33"/>
                <a:gd name="T49" fmla="*/ 5 h 40"/>
                <a:gd name="T50" fmla="*/ 10 w 33"/>
                <a:gd name="T51" fmla="*/ 1 h 40"/>
                <a:gd name="T52" fmla="*/ 16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5 w 33"/>
                <a:gd name="T63" fmla="*/ 17 h 40"/>
                <a:gd name="T64" fmla="*/ 24 w 33"/>
                <a:gd name="T65" fmla="*/ 13 h 40"/>
                <a:gd name="T66" fmla="*/ 23 w 33"/>
                <a:gd name="T67" fmla="*/ 10 h 40"/>
                <a:gd name="T68" fmla="*/ 20 w 33"/>
                <a:gd name="T69" fmla="*/ 8 h 40"/>
                <a:gd name="T70" fmla="*/ 16 w 33"/>
                <a:gd name="T71" fmla="*/ 7 h 40"/>
                <a:gd name="T72" fmla="*/ 12 w 33"/>
                <a:gd name="T73" fmla="*/ 8 h 40"/>
                <a:gd name="T74" fmla="*/ 10 w 33"/>
                <a:gd name="T75" fmla="*/ 9 h 40"/>
                <a:gd name="T76" fmla="*/ 8 w 33"/>
                <a:gd name="T77" fmla="*/ 12 h 40"/>
                <a:gd name="T78" fmla="*/ 7 w 33"/>
                <a:gd name="T79" fmla="*/ 17 h 40"/>
                <a:gd name="T80" fmla="*/ 25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7" y="25"/>
                    <a:pt x="8" y="26"/>
                    <a:pt x="8" y="28"/>
                  </a:cubicBezTo>
                  <a:cubicBezTo>
                    <a:pt x="9" y="29"/>
                    <a:pt x="10" y="30"/>
                    <a:pt x="10" y="31"/>
                  </a:cubicBezTo>
                  <a:cubicBezTo>
                    <a:pt x="11" y="32"/>
                    <a:pt x="12" y="32"/>
                    <a:pt x="13" y="33"/>
                  </a:cubicBezTo>
                  <a:cubicBezTo>
                    <a:pt x="14" y="33"/>
                    <a:pt x="16" y="33"/>
                    <a:pt x="17" y="33"/>
                  </a:cubicBezTo>
                  <a:cubicBezTo>
                    <a:pt x="18" y="33"/>
                    <a:pt x="18" y="33"/>
                    <a:pt x="19" y="33"/>
                  </a:cubicBezTo>
                  <a:cubicBezTo>
                    <a:pt x="20" y="33"/>
                    <a:pt x="20" y="33"/>
                    <a:pt x="21" y="32"/>
                  </a:cubicBezTo>
                  <a:cubicBezTo>
                    <a:pt x="22" y="32"/>
                    <a:pt x="22" y="32"/>
                    <a:pt x="23" y="32"/>
                  </a:cubicBezTo>
                  <a:cubicBezTo>
                    <a:pt x="23" y="31"/>
                    <a:pt x="24" y="31"/>
                    <a:pt x="25" y="30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6" y="38"/>
                    <a:pt x="25" y="38"/>
                    <a:pt x="24" y="39"/>
                  </a:cubicBezTo>
                  <a:cubicBezTo>
                    <a:pt x="23" y="39"/>
                    <a:pt x="22" y="40"/>
                    <a:pt x="20" y="40"/>
                  </a:cubicBezTo>
                  <a:cubicBezTo>
                    <a:pt x="19" y="40"/>
                    <a:pt x="18" y="40"/>
                    <a:pt x="16" y="40"/>
                  </a:cubicBezTo>
                  <a:cubicBezTo>
                    <a:pt x="15" y="40"/>
                    <a:pt x="13" y="40"/>
                    <a:pt x="12" y="39"/>
                  </a:cubicBezTo>
                  <a:cubicBezTo>
                    <a:pt x="10" y="39"/>
                    <a:pt x="9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3" y="33"/>
                    <a:pt x="2" y="31"/>
                  </a:cubicBezTo>
                  <a:cubicBezTo>
                    <a:pt x="1" y="30"/>
                    <a:pt x="1" y="28"/>
                    <a:pt x="0" y="26"/>
                  </a:cubicBezTo>
                  <a:cubicBezTo>
                    <a:pt x="0" y="24"/>
                    <a:pt x="0" y="22"/>
                    <a:pt x="0" y="20"/>
                  </a:cubicBezTo>
                  <a:cubicBezTo>
                    <a:pt x="0" y="17"/>
                    <a:pt x="0" y="14"/>
                    <a:pt x="1" y="12"/>
                  </a:cubicBezTo>
                  <a:cubicBezTo>
                    <a:pt x="2" y="9"/>
                    <a:pt x="3" y="7"/>
                    <a:pt x="4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4" y="0"/>
                    <a:pt x="16" y="0"/>
                  </a:cubicBezTo>
                  <a:cubicBezTo>
                    <a:pt x="19" y="0"/>
                    <a:pt x="22" y="1"/>
                    <a:pt x="24" y="2"/>
                  </a:cubicBezTo>
                  <a:cubicBezTo>
                    <a:pt x="26" y="3"/>
                    <a:pt x="27" y="4"/>
                    <a:pt x="29" y="6"/>
                  </a:cubicBezTo>
                  <a:cubicBezTo>
                    <a:pt x="30" y="8"/>
                    <a:pt x="31" y="10"/>
                    <a:pt x="32" y="12"/>
                  </a:cubicBezTo>
                  <a:cubicBezTo>
                    <a:pt x="32" y="14"/>
                    <a:pt x="33" y="17"/>
                    <a:pt x="33" y="19"/>
                  </a:cubicBezTo>
                  <a:close/>
                  <a:moveTo>
                    <a:pt x="25" y="17"/>
                  </a:moveTo>
                  <a:cubicBezTo>
                    <a:pt x="25" y="15"/>
                    <a:pt x="25" y="14"/>
                    <a:pt x="24" y="13"/>
                  </a:cubicBezTo>
                  <a:cubicBezTo>
                    <a:pt x="24" y="12"/>
                    <a:pt x="23" y="11"/>
                    <a:pt x="23" y="10"/>
                  </a:cubicBezTo>
                  <a:cubicBezTo>
                    <a:pt x="22" y="9"/>
                    <a:pt x="21" y="8"/>
                    <a:pt x="20" y="8"/>
                  </a:cubicBezTo>
                  <a:cubicBezTo>
                    <a:pt x="19" y="7"/>
                    <a:pt x="17" y="7"/>
                    <a:pt x="16" y="7"/>
                  </a:cubicBezTo>
                  <a:cubicBezTo>
                    <a:pt x="15" y="7"/>
                    <a:pt x="13" y="7"/>
                    <a:pt x="12" y="8"/>
                  </a:cubicBezTo>
                  <a:cubicBezTo>
                    <a:pt x="11" y="8"/>
                    <a:pt x="11" y="9"/>
                    <a:pt x="10" y="9"/>
                  </a:cubicBezTo>
                  <a:cubicBezTo>
                    <a:pt x="9" y="10"/>
                    <a:pt x="9" y="11"/>
                    <a:pt x="8" y="12"/>
                  </a:cubicBezTo>
                  <a:cubicBezTo>
                    <a:pt x="8" y="14"/>
                    <a:pt x="7" y="15"/>
                    <a:pt x="7" y="17"/>
                  </a:cubicBezTo>
                  <a:lnTo>
                    <a:pt x="25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8" name="Freeform 56">
              <a:extLst>
                <a:ext uri="{FF2B5EF4-FFF2-40B4-BE49-F238E27FC236}">
                  <a16:creationId xmlns:a16="http://schemas.microsoft.com/office/drawing/2014/main" id="{52482C08-723A-4738-9787-3516B3C171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993" y="6418333"/>
              <a:ext cx="55799" cy="101135"/>
            </a:xfrm>
            <a:custGeom>
              <a:avLst/>
              <a:gdLst>
                <a:gd name="T0" fmla="*/ 20 w 22"/>
                <a:gd name="T1" fmla="*/ 9 h 39"/>
                <a:gd name="T2" fmla="*/ 18 w 22"/>
                <a:gd name="T3" fmla="*/ 8 h 39"/>
                <a:gd name="T4" fmla="*/ 15 w 22"/>
                <a:gd name="T5" fmla="*/ 7 h 39"/>
                <a:gd name="T6" fmla="*/ 9 w 22"/>
                <a:gd name="T7" fmla="*/ 10 h 39"/>
                <a:gd name="T8" fmla="*/ 7 w 22"/>
                <a:gd name="T9" fmla="*/ 17 h 39"/>
                <a:gd name="T10" fmla="*/ 7 w 22"/>
                <a:gd name="T11" fmla="*/ 39 h 39"/>
                <a:gd name="T12" fmla="*/ 0 w 22"/>
                <a:gd name="T13" fmla="*/ 39 h 39"/>
                <a:gd name="T14" fmla="*/ 0 w 22"/>
                <a:gd name="T15" fmla="*/ 1 h 39"/>
                <a:gd name="T16" fmla="*/ 7 w 22"/>
                <a:gd name="T17" fmla="*/ 1 h 39"/>
                <a:gd name="T18" fmla="*/ 7 w 22"/>
                <a:gd name="T19" fmla="*/ 5 h 39"/>
                <a:gd name="T20" fmla="*/ 9 w 22"/>
                <a:gd name="T21" fmla="*/ 3 h 39"/>
                <a:gd name="T22" fmla="*/ 11 w 22"/>
                <a:gd name="T23" fmla="*/ 1 h 39"/>
                <a:gd name="T24" fmla="*/ 13 w 22"/>
                <a:gd name="T25" fmla="*/ 0 h 39"/>
                <a:gd name="T26" fmla="*/ 16 w 22"/>
                <a:gd name="T27" fmla="*/ 0 h 39"/>
                <a:gd name="T28" fmla="*/ 20 w 22"/>
                <a:gd name="T29" fmla="*/ 1 h 39"/>
                <a:gd name="T30" fmla="*/ 22 w 22"/>
                <a:gd name="T31" fmla="*/ 2 h 39"/>
                <a:gd name="T32" fmla="*/ 20 w 22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39">
                  <a:moveTo>
                    <a:pt x="20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7" y="8"/>
                    <a:pt x="16" y="7"/>
                    <a:pt x="15" y="7"/>
                  </a:cubicBezTo>
                  <a:cubicBezTo>
                    <a:pt x="12" y="7"/>
                    <a:pt x="10" y="8"/>
                    <a:pt x="9" y="10"/>
                  </a:cubicBezTo>
                  <a:cubicBezTo>
                    <a:pt x="8" y="12"/>
                    <a:pt x="7" y="14"/>
                    <a:pt x="7" y="17"/>
                  </a:cubicBezTo>
                  <a:cubicBezTo>
                    <a:pt x="7" y="39"/>
                    <a:pt x="7" y="39"/>
                    <a:pt x="7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8" y="4"/>
                    <a:pt x="8" y="3"/>
                    <a:pt x="9" y="3"/>
                  </a:cubicBezTo>
                  <a:cubicBezTo>
                    <a:pt x="9" y="2"/>
                    <a:pt x="10" y="2"/>
                    <a:pt x="11" y="1"/>
                  </a:cubicBezTo>
                  <a:cubicBezTo>
                    <a:pt x="11" y="1"/>
                    <a:pt x="12" y="1"/>
                    <a:pt x="13" y="0"/>
                  </a:cubicBezTo>
                  <a:cubicBezTo>
                    <a:pt x="14" y="0"/>
                    <a:pt x="15" y="0"/>
                    <a:pt x="16" y="0"/>
                  </a:cubicBezTo>
                  <a:cubicBezTo>
                    <a:pt x="17" y="0"/>
                    <a:pt x="19" y="0"/>
                    <a:pt x="20" y="1"/>
                  </a:cubicBezTo>
                  <a:cubicBezTo>
                    <a:pt x="21" y="1"/>
                    <a:pt x="22" y="1"/>
                    <a:pt x="22" y="2"/>
                  </a:cubicBezTo>
                  <a:lnTo>
                    <a:pt x="20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39" name="Freeform 57">
              <a:extLst>
                <a:ext uri="{FF2B5EF4-FFF2-40B4-BE49-F238E27FC236}">
                  <a16:creationId xmlns:a16="http://schemas.microsoft.com/office/drawing/2014/main" id="{5B72A8F0-33E3-42CD-88C2-C35BEC0E9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6591" y="6383459"/>
              <a:ext cx="55799" cy="137753"/>
            </a:xfrm>
            <a:custGeom>
              <a:avLst/>
              <a:gdLst>
                <a:gd name="T0" fmla="*/ 21 w 22"/>
                <a:gd name="T1" fmla="*/ 52 h 54"/>
                <a:gd name="T2" fmla="*/ 18 w 22"/>
                <a:gd name="T3" fmla="*/ 54 h 54"/>
                <a:gd name="T4" fmla="*/ 14 w 22"/>
                <a:gd name="T5" fmla="*/ 54 h 54"/>
                <a:gd name="T6" fmla="*/ 10 w 22"/>
                <a:gd name="T7" fmla="*/ 54 h 54"/>
                <a:gd name="T8" fmla="*/ 8 w 22"/>
                <a:gd name="T9" fmla="*/ 52 h 54"/>
                <a:gd name="T10" fmla="*/ 6 w 22"/>
                <a:gd name="T11" fmla="*/ 49 h 54"/>
                <a:gd name="T12" fmla="*/ 5 w 22"/>
                <a:gd name="T13" fmla="*/ 44 h 54"/>
                <a:gd name="T14" fmla="*/ 5 w 22"/>
                <a:gd name="T15" fmla="*/ 22 h 54"/>
                <a:gd name="T16" fmla="*/ 0 w 22"/>
                <a:gd name="T17" fmla="*/ 22 h 54"/>
                <a:gd name="T18" fmla="*/ 0 w 22"/>
                <a:gd name="T19" fmla="*/ 15 h 54"/>
                <a:gd name="T20" fmla="*/ 5 w 22"/>
                <a:gd name="T21" fmla="*/ 15 h 54"/>
                <a:gd name="T22" fmla="*/ 5 w 22"/>
                <a:gd name="T23" fmla="*/ 4 h 54"/>
                <a:gd name="T24" fmla="*/ 13 w 22"/>
                <a:gd name="T25" fmla="*/ 0 h 54"/>
                <a:gd name="T26" fmla="*/ 13 w 22"/>
                <a:gd name="T27" fmla="*/ 15 h 54"/>
                <a:gd name="T28" fmla="*/ 22 w 22"/>
                <a:gd name="T29" fmla="*/ 15 h 54"/>
                <a:gd name="T30" fmla="*/ 22 w 22"/>
                <a:gd name="T31" fmla="*/ 22 h 54"/>
                <a:gd name="T32" fmla="*/ 13 w 22"/>
                <a:gd name="T33" fmla="*/ 22 h 54"/>
                <a:gd name="T34" fmla="*/ 13 w 22"/>
                <a:gd name="T35" fmla="*/ 43 h 54"/>
                <a:gd name="T36" fmla="*/ 13 w 22"/>
                <a:gd name="T37" fmla="*/ 45 h 54"/>
                <a:gd name="T38" fmla="*/ 14 w 22"/>
                <a:gd name="T39" fmla="*/ 46 h 54"/>
                <a:gd name="T40" fmla="*/ 15 w 22"/>
                <a:gd name="T41" fmla="*/ 47 h 54"/>
                <a:gd name="T42" fmla="*/ 17 w 22"/>
                <a:gd name="T43" fmla="*/ 47 h 54"/>
                <a:gd name="T44" fmla="*/ 20 w 22"/>
                <a:gd name="T45" fmla="*/ 47 h 54"/>
                <a:gd name="T46" fmla="*/ 22 w 22"/>
                <a:gd name="T47" fmla="*/ 46 h 54"/>
                <a:gd name="T48" fmla="*/ 21 w 22"/>
                <a:gd name="T49" fmla="*/ 5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2" h="54">
                  <a:moveTo>
                    <a:pt x="21" y="52"/>
                  </a:moveTo>
                  <a:cubicBezTo>
                    <a:pt x="20" y="53"/>
                    <a:pt x="19" y="53"/>
                    <a:pt x="18" y="54"/>
                  </a:cubicBezTo>
                  <a:cubicBezTo>
                    <a:pt x="17" y="54"/>
                    <a:pt x="15" y="54"/>
                    <a:pt x="14" y="54"/>
                  </a:cubicBezTo>
                  <a:cubicBezTo>
                    <a:pt x="13" y="54"/>
                    <a:pt x="11" y="54"/>
                    <a:pt x="10" y="54"/>
                  </a:cubicBezTo>
                  <a:cubicBezTo>
                    <a:pt x="9" y="53"/>
                    <a:pt x="9" y="53"/>
                    <a:pt x="8" y="52"/>
                  </a:cubicBezTo>
                  <a:cubicBezTo>
                    <a:pt x="7" y="51"/>
                    <a:pt x="6" y="50"/>
                    <a:pt x="6" y="49"/>
                  </a:cubicBezTo>
                  <a:cubicBezTo>
                    <a:pt x="5" y="47"/>
                    <a:pt x="5" y="46"/>
                    <a:pt x="5" y="44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22" y="15"/>
                    <a:pt x="22" y="15"/>
                    <a:pt x="22" y="15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7"/>
                    <a:pt x="16" y="47"/>
                    <a:pt x="17" y="47"/>
                  </a:cubicBezTo>
                  <a:cubicBezTo>
                    <a:pt x="18" y="47"/>
                    <a:pt x="19" y="47"/>
                    <a:pt x="20" y="47"/>
                  </a:cubicBezTo>
                  <a:cubicBezTo>
                    <a:pt x="21" y="46"/>
                    <a:pt x="21" y="46"/>
                    <a:pt x="22" y="46"/>
                  </a:cubicBezTo>
                  <a:lnTo>
                    <a:pt x="21" y="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0" name="Freeform 58">
              <a:extLst>
                <a:ext uri="{FF2B5EF4-FFF2-40B4-BE49-F238E27FC236}">
                  <a16:creationId xmlns:a16="http://schemas.microsoft.com/office/drawing/2014/main" id="{73FC54A2-6588-499B-968A-79F4CA9CF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5058" y="6383459"/>
              <a:ext cx="80211" cy="136010"/>
            </a:xfrm>
            <a:custGeom>
              <a:avLst/>
              <a:gdLst>
                <a:gd name="T0" fmla="*/ 23 w 31"/>
                <a:gd name="T1" fmla="*/ 53 h 53"/>
                <a:gd name="T2" fmla="*/ 23 w 31"/>
                <a:gd name="T3" fmla="*/ 32 h 53"/>
                <a:gd name="T4" fmla="*/ 21 w 31"/>
                <a:gd name="T5" fmla="*/ 24 h 53"/>
                <a:gd name="T6" fmla="*/ 15 w 31"/>
                <a:gd name="T7" fmla="*/ 21 h 53"/>
                <a:gd name="T8" fmla="*/ 12 w 31"/>
                <a:gd name="T9" fmla="*/ 22 h 53"/>
                <a:gd name="T10" fmla="*/ 10 w 31"/>
                <a:gd name="T11" fmla="*/ 24 h 53"/>
                <a:gd name="T12" fmla="*/ 8 w 31"/>
                <a:gd name="T13" fmla="*/ 27 h 53"/>
                <a:gd name="T14" fmla="*/ 7 w 31"/>
                <a:gd name="T15" fmla="*/ 31 h 53"/>
                <a:gd name="T16" fmla="*/ 7 w 31"/>
                <a:gd name="T17" fmla="*/ 53 h 53"/>
                <a:gd name="T18" fmla="*/ 0 w 31"/>
                <a:gd name="T19" fmla="*/ 53 h 53"/>
                <a:gd name="T20" fmla="*/ 0 w 31"/>
                <a:gd name="T21" fmla="*/ 4 h 53"/>
                <a:gd name="T22" fmla="*/ 7 w 31"/>
                <a:gd name="T23" fmla="*/ 0 h 53"/>
                <a:gd name="T24" fmla="*/ 7 w 31"/>
                <a:gd name="T25" fmla="*/ 19 h 53"/>
                <a:gd name="T26" fmla="*/ 9 w 31"/>
                <a:gd name="T27" fmla="*/ 17 h 53"/>
                <a:gd name="T28" fmla="*/ 12 w 31"/>
                <a:gd name="T29" fmla="*/ 15 h 53"/>
                <a:gd name="T30" fmla="*/ 14 w 31"/>
                <a:gd name="T31" fmla="*/ 14 h 53"/>
                <a:gd name="T32" fmla="*/ 17 w 31"/>
                <a:gd name="T33" fmla="*/ 14 h 53"/>
                <a:gd name="T34" fmla="*/ 23 w 31"/>
                <a:gd name="T35" fmla="*/ 15 h 53"/>
                <a:gd name="T36" fmla="*/ 27 w 31"/>
                <a:gd name="T37" fmla="*/ 18 h 53"/>
                <a:gd name="T38" fmla="*/ 30 w 31"/>
                <a:gd name="T39" fmla="*/ 24 h 53"/>
                <a:gd name="T40" fmla="*/ 31 w 31"/>
                <a:gd name="T41" fmla="*/ 31 h 53"/>
                <a:gd name="T42" fmla="*/ 31 w 31"/>
                <a:gd name="T43" fmla="*/ 53 h 53"/>
                <a:gd name="T44" fmla="*/ 23 w 31"/>
                <a:gd name="T4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1" h="53">
                  <a:moveTo>
                    <a:pt x="23" y="53"/>
                  </a:moveTo>
                  <a:cubicBezTo>
                    <a:pt x="23" y="32"/>
                    <a:pt x="23" y="32"/>
                    <a:pt x="23" y="32"/>
                  </a:cubicBezTo>
                  <a:cubicBezTo>
                    <a:pt x="23" y="28"/>
                    <a:pt x="23" y="25"/>
                    <a:pt x="21" y="24"/>
                  </a:cubicBezTo>
                  <a:cubicBezTo>
                    <a:pt x="20" y="22"/>
                    <a:pt x="18" y="21"/>
                    <a:pt x="15" y="21"/>
                  </a:cubicBezTo>
                  <a:cubicBezTo>
                    <a:pt x="14" y="21"/>
                    <a:pt x="13" y="21"/>
                    <a:pt x="12" y="22"/>
                  </a:cubicBezTo>
                  <a:cubicBezTo>
                    <a:pt x="11" y="22"/>
                    <a:pt x="10" y="23"/>
                    <a:pt x="10" y="24"/>
                  </a:cubicBezTo>
                  <a:cubicBezTo>
                    <a:pt x="9" y="24"/>
                    <a:pt x="8" y="25"/>
                    <a:pt x="8" y="27"/>
                  </a:cubicBezTo>
                  <a:cubicBezTo>
                    <a:pt x="8" y="28"/>
                    <a:pt x="7" y="29"/>
                    <a:pt x="7" y="31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9"/>
                    <a:pt x="7" y="19"/>
                    <a:pt x="7" y="19"/>
                  </a:cubicBezTo>
                  <a:cubicBezTo>
                    <a:pt x="8" y="18"/>
                    <a:pt x="9" y="17"/>
                    <a:pt x="9" y="17"/>
                  </a:cubicBezTo>
                  <a:cubicBezTo>
                    <a:pt x="10" y="16"/>
                    <a:pt x="11" y="16"/>
                    <a:pt x="12" y="15"/>
                  </a:cubicBezTo>
                  <a:cubicBezTo>
                    <a:pt x="12" y="15"/>
                    <a:pt x="13" y="15"/>
                    <a:pt x="14" y="14"/>
                  </a:cubicBezTo>
                  <a:cubicBezTo>
                    <a:pt x="15" y="14"/>
                    <a:pt x="16" y="14"/>
                    <a:pt x="17" y="14"/>
                  </a:cubicBezTo>
                  <a:cubicBezTo>
                    <a:pt x="19" y="14"/>
                    <a:pt x="21" y="14"/>
                    <a:pt x="23" y="15"/>
                  </a:cubicBezTo>
                  <a:cubicBezTo>
                    <a:pt x="25" y="16"/>
                    <a:pt x="26" y="17"/>
                    <a:pt x="27" y="18"/>
                  </a:cubicBezTo>
                  <a:cubicBezTo>
                    <a:pt x="29" y="20"/>
                    <a:pt x="29" y="22"/>
                    <a:pt x="30" y="24"/>
                  </a:cubicBezTo>
                  <a:cubicBezTo>
                    <a:pt x="31" y="26"/>
                    <a:pt x="31" y="29"/>
                    <a:pt x="31" y="31"/>
                  </a:cubicBezTo>
                  <a:cubicBezTo>
                    <a:pt x="31" y="53"/>
                    <a:pt x="31" y="53"/>
                    <a:pt x="31" y="53"/>
                  </a:cubicBezTo>
                  <a:lnTo>
                    <a:pt x="23" y="5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1" name="Freeform 59">
              <a:extLst>
                <a:ext uri="{FF2B5EF4-FFF2-40B4-BE49-F238E27FC236}">
                  <a16:creationId xmlns:a16="http://schemas.microsoft.com/office/drawing/2014/main" id="{1E6AB002-C130-4648-A18E-BA496FF175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2706" y="6418333"/>
              <a:ext cx="83698" cy="102879"/>
            </a:xfrm>
            <a:custGeom>
              <a:avLst/>
              <a:gdLst>
                <a:gd name="T0" fmla="*/ 33 w 33"/>
                <a:gd name="T1" fmla="*/ 19 h 40"/>
                <a:gd name="T2" fmla="*/ 33 w 33"/>
                <a:gd name="T3" fmla="*/ 21 h 40"/>
                <a:gd name="T4" fmla="*/ 33 w 33"/>
                <a:gd name="T5" fmla="*/ 23 h 40"/>
                <a:gd name="T6" fmla="*/ 8 w 33"/>
                <a:gd name="T7" fmla="*/ 23 h 40"/>
                <a:gd name="T8" fmla="*/ 9 w 33"/>
                <a:gd name="T9" fmla="*/ 28 h 40"/>
                <a:gd name="T10" fmla="*/ 11 w 33"/>
                <a:gd name="T11" fmla="*/ 31 h 40"/>
                <a:gd name="T12" fmla="*/ 14 w 33"/>
                <a:gd name="T13" fmla="*/ 33 h 40"/>
                <a:gd name="T14" fmla="*/ 17 w 33"/>
                <a:gd name="T15" fmla="*/ 33 h 40"/>
                <a:gd name="T16" fmla="*/ 20 w 33"/>
                <a:gd name="T17" fmla="*/ 33 h 40"/>
                <a:gd name="T18" fmla="*/ 22 w 33"/>
                <a:gd name="T19" fmla="*/ 32 h 40"/>
                <a:gd name="T20" fmla="*/ 24 w 33"/>
                <a:gd name="T21" fmla="*/ 32 h 40"/>
                <a:gd name="T22" fmla="*/ 26 w 33"/>
                <a:gd name="T23" fmla="*/ 30 h 40"/>
                <a:gd name="T24" fmla="*/ 30 w 33"/>
                <a:gd name="T25" fmla="*/ 35 h 40"/>
                <a:gd name="T26" fmla="*/ 27 w 33"/>
                <a:gd name="T27" fmla="*/ 37 h 40"/>
                <a:gd name="T28" fmla="*/ 25 w 33"/>
                <a:gd name="T29" fmla="*/ 39 h 40"/>
                <a:gd name="T30" fmla="*/ 21 w 33"/>
                <a:gd name="T31" fmla="*/ 40 h 40"/>
                <a:gd name="T32" fmla="*/ 17 w 33"/>
                <a:gd name="T33" fmla="*/ 40 h 40"/>
                <a:gd name="T34" fmla="*/ 12 w 33"/>
                <a:gd name="T35" fmla="*/ 39 h 40"/>
                <a:gd name="T36" fmla="*/ 8 w 33"/>
                <a:gd name="T37" fmla="*/ 38 h 40"/>
                <a:gd name="T38" fmla="*/ 5 w 33"/>
                <a:gd name="T39" fmla="*/ 35 h 40"/>
                <a:gd name="T40" fmla="*/ 3 w 33"/>
                <a:gd name="T41" fmla="*/ 31 h 40"/>
                <a:gd name="T42" fmla="*/ 1 w 33"/>
                <a:gd name="T43" fmla="*/ 26 h 40"/>
                <a:gd name="T44" fmla="*/ 0 w 33"/>
                <a:gd name="T45" fmla="*/ 20 h 40"/>
                <a:gd name="T46" fmla="*/ 2 w 33"/>
                <a:gd name="T47" fmla="*/ 12 h 40"/>
                <a:gd name="T48" fmla="*/ 5 w 33"/>
                <a:gd name="T49" fmla="*/ 5 h 40"/>
                <a:gd name="T50" fmla="*/ 10 w 33"/>
                <a:gd name="T51" fmla="*/ 1 h 40"/>
                <a:gd name="T52" fmla="*/ 17 w 33"/>
                <a:gd name="T53" fmla="*/ 0 h 40"/>
                <a:gd name="T54" fmla="*/ 24 w 33"/>
                <a:gd name="T55" fmla="*/ 2 h 40"/>
                <a:gd name="T56" fmla="*/ 29 w 33"/>
                <a:gd name="T57" fmla="*/ 6 h 40"/>
                <a:gd name="T58" fmla="*/ 32 w 33"/>
                <a:gd name="T59" fmla="*/ 12 h 40"/>
                <a:gd name="T60" fmla="*/ 33 w 33"/>
                <a:gd name="T61" fmla="*/ 19 h 40"/>
                <a:gd name="T62" fmla="*/ 26 w 33"/>
                <a:gd name="T63" fmla="*/ 17 h 40"/>
                <a:gd name="T64" fmla="*/ 25 w 33"/>
                <a:gd name="T65" fmla="*/ 13 h 40"/>
                <a:gd name="T66" fmla="*/ 23 w 33"/>
                <a:gd name="T67" fmla="*/ 10 h 40"/>
                <a:gd name="T68" fmla="*/ 21 w 33"/>
                <a:gd name="T69" fmla="*/ 8 h 40"/>
                <a:gd name="T70" fmla="*/ 17 w 33"/>
                <a:gd name="T71" fmla="*/ 7 h 40"/>
                <a:gd name="T72" fmla="*/ 13 w 33"/>
                <a:gd name="T73" fmla="*/ 8 h 40"/>
                <a:gd name="T74" fmla="*/ 11 w 33"/>
                <a:gd name="T75" fmla="*/ 9 h 40"/>
                <a:gd name="T76" fmla="*/ 9 w 33"/>
                <a:gd name="T77" fmla="*/ 12 h 40"/>
                <a:gd name="T78" fmla="*/ 8 w 33"/>
                <a:gd name="T79" fmla="*/ 17 h 40"/>
                <a:gd name="T80" fmla="*/ 26 w 33"/>
                <a:gd name="T81" fmla="*/ 17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" h="40">
                  <a:moveTo>
                    <a:pt x="33" y="19"/>
                  </a:moveTo>
                  <a:cubicBezTo>
                    <a:pt x="33" y="20"/>
                    <a:pt x="33" y="21"/>
                    <a:pt x="33" y="21"/>
                  </a:cubicBezTo>
                  <a:cubicBezTo>
                    <a:pt x="33" y="22"/>
                    <a:pt x="33" y="22"/>
                    <a:pt x="3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8" y="25"/>
                    <a:pt x="8" y="26"/>
                    <a:pt x="9" y="28"/>
                  </a:cubicBezTo>
                  <a:cubicBezTo>
                    <a:pt x="10" y="29"/>
                    <a:pt x="10" y="30"/>
                    <a:pt x="11" y="31"/>
                  </a:cubicBezTo>
                  <a:cubicBezTo>
                    <a:pt x="12" y="32"/>
                    <a:pt x="13" y="32"/>
                    <a:pt x="14" y="33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8" y="33"/>
                    <a:pt x="19" y="33"/>
                    <a:pt x="20" y="33"/>
                  </a:cubicBezTo>
                  <a:cubicBezTo>
                    <a:pt x="20" y="33"/>
                    <a:pt x="21" y="33"/>
                    <a:pt x="22" y="32"/>
                  </a:cubicBezTo>
                  <a:cubicBezTo>
                    <a:pt x="23" y="32"/>
                    <a:pt x="23" y="32"/>
                    <a:pt x="24" y="32"/>
                  </a:cubicBezTo>
                  <a:cubicBezTo>
                    <a:pt x="24" y="31"/>
                    <a:pt x="25" y="31"/>
                    <a:pt x="26" y="30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29" y="36"/>
                    <a:pt x="28" y="37"/>
                    <a:pt x="27" y="37"/>
                  </a:cubicBezTo>
                  <a:cubicBezTo>
                    <a:pt x="27" y="38"/>
                    <a:pt x="26" y="38"/>
                    <a:pt x="25" y="39"/>
                  </a:cubicBezTo>
                  <a:cubicBezTo>
                    <a:pt x="24" y="39"/>
                    <a:pt x="22" y="40"/>
                    <a:pt x="21" y="40"/>
                  </a:cubicBezTo>
                  <a:cubicBezTo>
                    <a:pt x="20" y="40"/>
                    <a:pt x="18" y="40"/>
                    <a:pt x="17" y="40"/>
                  </a:cubicBezTo>
                  <a:cubicBezTo>
                    <a:pt x="15" y="40"/>
                    <a:pt x="14" y="40"/>
                    <a:pt x="12" y="39"/>
                  </a:cubicBezTo>
                  <a:cubicBezTo>
                    <a:pt x="11" y="39"/>
                    <a:pt x="10" y="38"/>
                    <a:pt x="8" y="38"/>
                  </a:cubicBezTo>
                  <a:cubicBezTo>
                    <a:pt x="7" y="37"/>
                    <a:pt x="6" y="36"/>
                    <a:pt x="5" y="35"/>
                  </a:cubicBezTo>
                  <a:cubicBezTo>
                    <a:pt x="4" y="34"/>
                    <a:pt x="4" y="33"/>
                    <a:pt x="3" y="31"/>
                  </a:cubicBezTo>
                  <a:cubicBezTo>
                    <a:pt x="2" y="30"/>
                    <a:pt x="1" y="28"/>
                    <a:pt x="1" y="26"/>
                  </a:cubicBezTo>
                  <a:cubicBezTo>
                    <a:pt x="1" y="24"/>
                    <a:pt x="0" y="22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6" y="4"/>
                    <a:pt x="8" y="2"/>
                    <a:pt x="10" y="1"/>
                  </a:cubicBezTo>
                  <a:cubicBezTo>
                    <a:pt x="12" y="1"/>
                    <a:pt x="15" y="0"/>
                    <a:pt x="17" y="0"/>
                  </a:cubicBezTo>
                  <a:cubicBezTo>
                    <a:pt x="20" y="0"/>
                    <a:pt x="22" y="1"/>
                    <a:pt x="24" y="2"/>
                  </a:cubicBezTo>
                  <a:cubicBezTo>
                    <a:pt x="26" y="3"/>
                    <a:pt x="28" y="4"/>
                    <a:pt x="29" y="6"/>
                  </a:cubicBezTo>
                  <a:cubicBezTo>
                    <a:pt x="31" y="8"/>
                    <a:pt x="32" y="10"/>
                    <a:pt x="32" y="12"/>
                  </a:cubicBezTo>
                  <a:cubicBezTo>
                    <a:pt x="33" y="14"/>
                    <a:pt x="33" y="17"/>
                    <a:pt x="33" y="19"/>
                  </a:cubicBezTo>
                  <a:close/>
                  <a:moveTo>
                    <a:pt x="26" y="17"/>
                  </a:moveTo>
                  <a:cubicBezTo>
                    <a:pt x="26" y="15"/>
                    <a:pt x="25" y="14"/>
                    <a:pt x="25" y="13"/>
                  </a:cubicBezTo>
                  <a:cubicBezTo>
                    <a:pt x="25" y="12"/>
                    <a:pt x="24" y="11"/>
                    <a:pt x="23" y="10"/>
                  </a:cubicBezTo>
                  <a:cubicBezTo>
                    <a:pt x="23" y="9"/>
                    <a:pt x="22" y="8"/>
                    <a:pt x="21" y="8"/>
                  </a:cubicBezTo>
                  <a:cubicBezTo>
                    <a:pt x="20" y="7"/>
                    <a:pt x="18" y="7"/>
                    <a:pt x="17" y="7"/>
                  </a:cubicBezTo>
                  <a:cubicBezTo>
                    <a:pt x="15" y="7"/>
                    <a:pt x="14" y="7"/>
                    <a:pt x="13" y="8"/>
                  </a:cubicBezTo>
                  <a:cubicBezTo>
                    <a:pt x="12" y="8"/>
                    <a:pt x="11" y="9"/>
                    <a:pt x="11" y="9"/>
                  </a:cubicBezTo>
                  <a:cubicBezTo>
                    <a:pt x="10" y="10"/>
                    <a:pt x="9" y="11"/>
                    <a:pt x="9" y="12"/>
                  </a:cubicBezTo>
                  <a:cubicBezTo>
                    <a:pt x="8" y="14"/>
                    <a:pt x="8" y="15"/>
                    <a:pt x="8" y="17"/>
                  </a:cubicBezTo>
                  <a:lnTo>
                    <a:pt x="26" y="1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2" name="Freeform 60">
              <a:extLst>
                <a:ext uri="{FF2B5EF4-FFF2-40B4-BE49-F238E27FC236}">
                  <a16:creationId xmlns:a16="http://schemas.microsoft.com/office/drawing/2014/main" id="{B0044278-9F7F-4596-96D2-ACFBE0DEC0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27435" y="6421821"/>
              <a:ext cx="122060" cy="97648"/>
            </a:xfrm>
            <a:custGeom>
              <a:avLst/>
              <a:gdLst>
                <a:gd name="T0" fmla="*/ 56 w 70"/>
                <a:gd name="T1" fmla="*/ 56 h 56"/>
                <a:gd name="T2" fmla="*/ 46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5 w 70"/>
                <a:gd name="T9" fmla="*/ 56 h 56"/>
                <a:gd name="T10" fmla="*/ 0 w 70"/>
                <a:gd name="T11" fmla="*/ 0 h 56"/>
                <a:gd name="T12" fmla="*/ 10 w 70"/>
                <a:gd name="T13" fmla="*/ 0 h 56"/>
                <a:gd name="T14" fmla="*/ 21 w 70"/>
                <a:gd name="T15" fmla="*/ 38 h 56"/>
                <a:gd name="T16" fmla="*/ 31 w 70"/>
                <a:gd name="T17" fmla="*/ 0 h 56"/>
                <a:gd name="T18" fmla="*/ 40 w 70"/>
                <a:gd name="T19" fmla="*/ 0 h 56"/>
                <a:gd name="T20" fmla="*/ 50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6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6" y="56"/>
                  </a:moveTo>
                  <a:lnTo>
                    <a:pt x="46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5" y="56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1" y="38"/>
                  </a:lnTo>
                  <a:lnTo>
                    <a:pt x="31" y="0"/>
                  </a:lnTo>
                  <a:lnTo>
                    <a:pt x="40" y="0"/>
                  </a:lnTo>
                  <a:lnTo>
                    <a:pt x="50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6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3" name="Freeform 61">
              <a:extLst>
                <a:ext uri="{FF2B5EF4-FFF2-40B4-BE49-F238E27FC236}">
                  <a16:creationId xmlns:a16="http://schemas.microsoft.com/office/drawing/2014/main" id="{79F75E0D-27A7-44C1-BF19-495F4768F9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9957" y="6418333"/>
              <a:ext cx="87186" cy="102879"/>
            </a:xfrm>
            <a:custGeom>
              <a:avLst/>
              <a:gdLst>
                <a:gd name="T0" fmla="*/ 34 w 34"/>
                <a:gd name="T1" fmla="*/ 20 h 40"/>
                <a:gd name="T2" fmla="*/ 33 w 34"/>
                <a:gd name="T3" fmla="*/ 28 h 40"/>
                <a:gd name="T4" fmla="*/ 29 w 34"/>
                <a:gd name="T5" fmla="*/ 35 h 40"/>
                <a:gd name="T6" fmla="*/ 24 w 34"/>
                <a:gd name="T7" fmla="*/ 39 h 40"/>
                <a:gd name="T8" fmla="*/ 17 w 34"/>
                <a:gd name="T9" fmla="*/ 40 h 40"/>
                <a:gd name="T10" fmla="*/ 10 w 34"/>
                <a:gd name="T11" fmla="*/ 39 h 40"/>
                <a:gd name="T12" fmla="*/ 5 w 34"/>
                <a:gd name="T13" fmla="*/ 35 h 40"/>
                <a:gd name="T14" fmla="*/ 1 w 34"/>
                <a:gd name="T15" fmla="*/ 28 h 40"/>
                <a:gd name="T16" fmla="*/ 0 w 34"/>
                <a:gd name="T17" fmla="*/ 20 h 40"/>
                <a:gd name="T18" fmla="*/ 1 w 34"/>
                <a:gd name="T19" fmla="*/ 12 h 40"/>
                <a:gd name="T20" fmla="*/ 5 w 34"/>
                <a:gd name="T21" fmla="*/ 5 h 40"/>
                <a:gd name="T22" fmla="*/ 11 w 34"/>
                <a:gd name="T23" fmla="*/ 1 h 40"/>
                <a:gd name="T24" fmla="*/ 17 w 34"/>
                <a:gd name="T25" fmla="*/ 0 h 40"/>
                <a:gd name="T26" fmla="*/ 24 w 34"/>
                <a:gd name="T27" fmla="*/ 1 h 40"/>
                <a:gd name="T28" fmla="*/ 29 w 34"/>
                <a:gd name="T29" fmla="*/ 5 h 40"/>
                <a:gd name="T30" fmla="*/ 33 w 34"/>
                <a:gd name="T31" fmla="*/ 12 h 40"/>
                <a:gd name="T32" fmla="*/ 34 w 34"/>
                <a:gd name="T33" fmla="*/ 20 h 40"/>
                <a:gd name="T34" fmla="*/ 27 w 34"/>
                <a:gd name="T35" fmla="*/ 20 h 40"/>
                <a:gd name="T36" fmla="*/ 26 w 34"/>
                <a:gd name="T37" fmla="*/ 15 h 40"/>
                <a:gd name="T38" fmla="*/ 24 w 34"/>
                <a:gd name="T39" fmla="*/ 11 h 40"/>
                <a:gd name="T40" fmla="*/ 21 w 34"/>
                <a:gd name="T41" fmla="*/ 8 h 40"/>
                <a:gd name="T42" fmla="*/ 17 w 34"/>
                <a:gd name="T43" fmla="*/ 7 h 40"/>
                <a:gd name="T44" fmla="*/ 13 w 34"/>
                <a:gd name="T45" fmla="*/ 8 h 40"/>
                <a:gd name="T46" fmla="*/ 10 w 34"/>
                <a:gd name="T47" fmla="*/ 11 h 40"/>
                <a:gd name="T48" fmla="*/ 8 w 34"/>
                <a:gd name="T49" fmla="*/ 15 h 40"/>
                <a:gd name="T50" fmla="*/ 8 w 34"/>
                <a:gd name="T51" fmla="*/ 20 h 40"/>
                <a:gd name="T52" fmla="*/ 8 w 34"/>
                <a:gd name="T53" fmla="*/ 26 h 40"/>
                <a:gd name="T54" fmla="*/ 10 w 34"/>
                <a:gd name="T55" fmla="*/ 30 h 40"/>
                <a:gd name="T56" fmla="*/ 13 w 34"/>
                <a:gd name="T57" fmla="*/ 32 h 40"/>
                <a:gd name="T58" fmla="*/ 17 w 34"/>
                <a:gd name="T59" fmla="*/ 33 h 40"/>
                <a:gd name="T60" fmla="*/ 21 w 34"/>
                <a:gd name="T61" fmla="*/ 32 h 40"/>
                <a:gd name="T62" fmla="*/ 24 w 34"/>
                <a:gd name="T63" fmla="*/ 29 h 40"/>
                <a:gd name="T64" fmla="*/ 26 w 34"/>
                <a:gd name="T65" fmla="*/ 25 h 40"/>
                <a:gd name="T66" fmla="*/ 27 w 34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4" h="40">
                  <a:moveTo>
                    <a:pt x="34" y="20"/>
                  </a:moveTo>
                  <a:cubicBezTo>
                    <a:pt x="34" y="23"/>
                    <a:pt x="34" y="26"/>
                    <a:pt x="33" y="28"/>
                  </a:cubicBezTo>
                  <a:cubicBezTo>
                    <a:pt x="32" y="31"/>
                    <a:pt x="31" y="33"/>
                    <a:pt x="29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2" y="40"/>
                    <a:pt x="10" y="39"/>
                  </a:cubicBezTo>
                  <a:cubicBezTo>
                    <a:pt x="8" y="38"/>
                    <a:pt x="6" y="36"/>
                    <a:pt x="5" y="35"/>
                  </a:cubicBezTo>
                  <a:cubicBezTo>
                    <a:pt x="3" y="33"/>
                    <a:pt x="2" y="31"/>
                    <a:pt x="1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1" y="12"/>
                  </a:cubicBezTo>
                  <a:cubicBezTo>
                    <a:pt x="2" y="9"/>
                    <a:pt x="4" y="7"/>
                    <a:pt x="5" y="5"/>
                  </a:cubicBezTo>
                  <a:cubicBezTo>
                    <a:pt x="7" y="4"/>
                    <a:pt x="8" y="2"/>
                    <a:pt x="11" y="1"/>
                  </a:cubicBezTo>
                  <a:cubicBezTo>
                    <a:pt x="13" y="1"/>
                    <a:pt x="15" y="0"/>
                    <a:pt x="17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29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4" y="17"/>
                    <a:pt x="34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3" y="10"/>
                    <a:pt x="22" y="9"/>
                    <a:pt x="21" y="8"/>
                  </a:cubicBezTo>
                  <a:cubicBezTo>
                    <a:pt x="20" y="8"/>
                    <a:pt x="18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9" y="12"/>
                    <a:pt x="9" y="13"/>
                    <a:pt x="8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8" y="26"/>
                  </a:cubicBezTo>
                  <a:cubicBezTo>
                    <a:pt x="9" y="27"/>
                    <a:pt x="10" y="28"/>
                    <a:pt x="10" y="30"/>
                  </a:cubicBezTo>
                  <a:cubicBezTo>
                    <a:pt x="11" y="31"/>
                    <a:pt x="12" y="32"/>
                    <a:pt x="13" y="32"/>
                  </a:cubicBezTo>
                  <a:cubicBezTo>
                    <a:pt x="15" y="33"/>
                    <a:pt x="16" y="33"/>
                    <a:pt x="17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2" y="31"/>
                    <a:pt x="23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4" name="Freeform 62">
              <a:extLst>
                <a:ext uri="{FF2B5EF4-FFF2-40B4-BE49-F238E27FC236}">
                  <a16:creationId xmlns:a16="http://schemas.microsoft.com/office/drawing/2014/main" id="{E5B9E395-C74C-4D98-8911-EE2C765D8BEB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8067" y="6418333"/>
              <a:ext cx="57543" cy="101135"/>
            </a:xfrm>
            <a:custGeom>
              <a:avLst/>
              <a:gdLst>
                <a:gd name="T0" fmla="*/ 21 w 23"/>
                <a:gd name="T1" fmla="*/ 9 h 39"/>
                <a:gd name="T2" fmla="*/ 18 w 23"/>
                <a:gd name="T3" fmla="*/ 8 h 39"/>
                <a:gd name="T4" fmla="*/ 15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9 w 23"/>
                <a:gd name="T21" fmla="*/ 3 h 39"/>
                <a:gd name="T22" fmla="*/ 11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0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19" y="8"/>
                    <a:pt x="18" y="8"/>
                  </a:cubicBezTo>
                  <a:cubicBezTo>
                    <a:pt x="18" y="8"/>
                    <a:pt x="17" y="7"/>
                    <a:pt x="15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8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9" y="3"/>
                  </a:cubicBezTo>
                  <a:cubicBezTo>
                    <a:pt x="10" y="2"/>
                    <a:pt x="11" y="2"/>
                    <a:pt x="11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19" y="0"/>
                    <a:pt x="20" y="1"/>
                  </a:cubicBezTo>
                  <a:cubicBezTo>
                    <a:pt x="21" y="1"/>
                    <a:pt x="22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5" name="Freeform 63">
              <a:extLst>
                <a:ext uri="{FF2B5EF4-FFF2-40B4-BE49-F238E27FC236}">
                  <a16:creationId xmlns:a16="http://schemas.microsoft.com/office/drawing/2014/main" id="{53BB8418-388C-4142-9A80-8BF00A87F7B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3046" y="6383459"/>
              <a:ext cx="19181" cy="136010"/>
            </a:xfrm>
            <a:custGeom>
              <a:avLst/>
              <a:gdLst>
                <a:gd name="T0" fmla="*/ 0 w 11"/>
                <a:gd name="T1" fmla="*/ 78 h 78"/>
                <a:gd name="T2" fmla="*/ 0 w 11"/>
                <a:gd name="T3" fmla="*/ 6 h 78"/>
                <a:gd name="T4" fmla="*/ 11 w 11"/>
                <a:gd name="T5" fmla="*/ 0 h 78"/>
                <a:gd name="T6" fmla="*/ 11 w 11"/>
                <a:gd name="T7" fmla="*/ 78 h 78"/>
                <a:gd name="T8" fmla="*/ 0 w 11"/>
                <a:gd name="T9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78">
                  <a:moveTo>
                    <a:pt x="0" y="78"/>
                  </a:moveTo>
                  <a:lnTo>
                    <a:pt x="0" y="6"/>
                  </a:lnTo>
                  <a:lnTo>
                    <a:pt x="11" y="0"/>
                  </a:lnTo>
                  <a:lnTo>
                    <a:pt x="11" y="78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6" name="Freeform 64">
              <a:extLst>
                <a:ext uri="{FF2B5EF4-FFF2-40B4-BE49-F238E27FC236}">
                  <a16:creationId xmlns:a16="http://schemas.microsoft.com/office/drawing/2014/main" id="{0256DB41-B3C1-4FEB-B394-9762C00E7F7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4896" y="6383459"/>
              <a:ext cx="80211" cy="137753"/>
            </a:xfrm>
            <a:custGeom>
              <a:avLst/>
              <a:gdLst>
                <a:gd name="T0" fmla="*/ 24 w 32"/>
                <a:gd name="T1" fmla="*/ 53 h 54"/>
                <a:gd name="T2" fmla="*/ 24 w 32"/>
                <a:gd name="T3" fmla="*/ 50 h 54"/>
                <a:gd name="T4" fmla="*/ 22 w 32"/>
                <a:gd name="T5" fmla="*/ 51 h 54"/>
                <a:gd name="T6" fmla="*/ 20 w 32"/>
                <a:gd name="T7" fmla="*/ 53 h 54"/>
                <a:gd name="T8" fmla="*/ 17 w 32"/>
                <a:gd name="T9" fmla="*/ 54 h 54"/>
                <a:gd name="T10" fmla="*/ 14 w 32"/>
                <a:gd name="T11" fmla="*/ 54 h 54"/>
                <a:gd name="T12" fmla="*/ 9 w 32"/>
                <a:gd name="T13" fmla="*/ 53 h 54"/>
                <a:gd name="T14" fmla="*/ 4 w 32"/>
                <a:gd name="T15" fmla="*/ 49 h 54"/>
                <a:gd name="T16" fmla="*/ 1 w 32"/>
                <a:gd name="T17" fmla="*/ 43 h 54"/>
                <a:gd name="T18" fmla="*/ 0 w 32"/>
                <a:gd name="T19" fmla="*/ 33 h 54"/>
                <a:gd name="T20" fmla="*/ 1 w 32"/>
                <a:gd name="T21" fmla="*/ 25 h 54"/>
                <a:gd name="T22" fmla="*/ 4 w 32"/>
                <a:gd name="T23" fmla="*/ 19 h 54"/>
                <a:gd name="T24" fmla="*/ 9 w 32"/>
                <a:gd name="T25" fmla="*/ 15 h 54"/>
                <a:gd name="T26" fmla="*/ 15 w 32"/>
                <a:gd name="T27" fmla="*/ 14 h 54"/>
                <a:gd name="T28" fmla="*/ 18 w 32"/>
                <a:gd name="T29" fmla="*/ 14 h 54"/>
                <a:gd name="T30" fmla="*/ 20 w 32"/>
                <a:gd name="T31" fmla="*/ 15 h 54"/>
                <a:gd name="T32" fmla="*/ 22 w 32"/>
                <a:gd name="T33" fmla="*/ 17 h 54"/>
                <a:gd name="T34" fmla="*/ 24 w 32"/>
                <a:gd name="T35" fmla="*/ 18 h 54"/>
                <a:gd name="T36" fmla="*/ 24 w 32"/>
                <a:gd name="T37" fmla="*/ 4 h 54"/>
                <a:gd name="T38" fmla="*/ 32 w 32"/>
                <a:gd name="T39" fmla="*/ 0 h 54"/>
                <a:gd name="T40" fmla="*/ 32 w 32"/>
                <a:gd name="T41" fmla="*/ 53 h 54"/>
                <a:gd name="T42" fmla="*/ 24 w 32"/>
                <a:gd name="T43" fmla="*/ 53 h 54"/>
                <a:gd name="T44" fmla="*/ 24 w 32"/>
                <a:gd name="T45" fmla="*/ 26 h 54"/>
                <a:gd name="T46" fmla="*/ 23 w 32"/>
                <a:gd name="T47" fmla="*/ 24 h 54"/>
                <a:gd name="T48" fmla="*/ 21 w 32"/>
                <a:gd name="T49" fmla="*/ 23 h 54"/>
                <a:gd name="T50" fmla="*/ 18 w 32"/>
                <a:gd name="T51" fmla="*/ 22 h 54"/>
                <a:gd name="T52" fmla="*/ 15 w 32"/>
                <a:gd name="T53" fmla="*/ 21 h 54"/>
                <a:gd name="T54" fmla="*/ 9 w 32"/>
                <a:gd name="T55" fmla="*/ 24 h 54"/>
                <a:gd name="T56" fmla="*/ 7 w 32"/>
                <a:gd name="T57" fmla="*/ 33 h 54"/>
                <a:gd name="T58" fmla="*/ 8 w 32"/>
                <a:gd name="T59" fmla="*/ 39 h 54"/>
                <a:gd name="T60" fmla="*/ 9 w 32"/>
                <a:gd name="T61" fmla="*/ 44 h 54"/>
                <a:gd name="T62" fmla="*/ 12 w 32"/>
                <a:gd name="T63" fmla="*/ 46 h 54"/>
                <a:gd name="T64" fmla="*/ 16 w 32"/>
                <a:gd name="T65" fmla="*/ 47 h 54"/>
                <a:gd name="T66" fmla="*/ 18 w 32"/>
                <a:gd name="T67" fmla="*/ 47 h 54"/>
                <a:gd name="T68" fmla="*/ 21 w 32"/>
                <a:gd name="T69" fmla="*/ 46 h 54"/>
                <a:gd name="T70" fmla="*/ 23 w 32"/>
                <a:gd name="T71" fmla="*/ 44 h 54"/>
                <a:gd name="T72" fmla="*/ 24 w 32"/>
                <a:gd name="T73" fmla="*/ 42 h 54"/>
                <a:gd name="T74" fmla="*/ 24 w 32"/>
                <a:gd name="T75" fmla="*/ 2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" h="54">
                  <a:moveTo>
                    <a:pt x="24" y="53"/>
                  </a:moveTo>
                  <a:cubicBezTo>
                    <a:pt x="24" y="50"/>
                    <a:pt x="24" y="50"/>
                    <a:pt x="24" y="50"/>
                  </a:cubicBezTo>
                  <a:cubicBezTo>
                    <a:pt x="24" y="50"/>
                    <a:pt x="23" y="51"/>
                    <a:pt x="22" y="51"/>
                  </a:cubicBezTo>
                  <a:cubicBezTo>
                    <a:pt x="21" y="52"/>
                    <a:pt x="21" y="52"/>
                    <a:pt x="20" y="53"/>
                  </a:cubicBezTo>
                  <a:cubicBezTo>
                    <a:pt x="19" y="53"/>
                    <a:pt x="18" y="54"/>
                    <a:pt x="17" y="54"/>
                  </a:cubicBezTo>
                  <a:cubicBezTo>
                    <a:pt x="16" y="54"/>
                    <a:pt x="15" y="54"/>
                    <a:pt x="14" y="54"/>
                  </a:cubicBezTo>
                  <a:cubicBezTo>
                    <a:pt x="12" y="54"/>
                    <a:pt x="10" y="54"/>
                    <a:pt x="9" y="53"/>
                  </a:cubicBezTo>
                  <a:cubicBezTo>
                    <a:pt x="7" y="52"/>
                    <a:pt x="5" y="51"/>
                    <a:pt x="4" y="49"/>
                  </a:cubicBezTo>
                  <a:cubicBezTo>
                    <a:pt x="3" y="48"/>
                    <a:pt x="1" y="45"/>
                    <a:pt x="1" y="43"/>
                  </a:cubicBezTo>
                  <a:cubicBezTo>
                    <a:pt x="0" y="40"/>
                    <a:pt x="0" y="37"/>
                    <a:pt x="0" y="33"/>
                  </a:cubicBezTo>
                  <a:cubicBezTo>
                    <a:pt x="0" y="30"/>
                    <a:pt x="0" y="27"/>
                    <a:pt x="1" y="25"/>
                  </a:cubicBezTo>
                  <a:cubicBezTo>
                    <a:pt x="2" y="22"/>
                    <a:pt x="3" y="20"/>
                    <a:pt x="4" y="19"/>
                  </a:cubicBezTo>
                  <a:cubicBezTo>
                    <a:pt x="6" y="17"/>
                    <a:pt x="7" y="16"/>
                    <a:pt x="9" y="15"/>
                  </a:cubicBezTo>
                  <a:cubicBezTo>
                    <a:pt x="11" y="14"/>
                    <a:pt x="13" y="14"/>
                    <a:pt x="15" y="14"/>
                  </a:cubicBezTo>
                  <a:cubicBezTo>
                    <a:pt x="16" y="14"/>
                    <a:pt x="17" y="14"/>
                    <a:pt x="18" y="14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1" y="16"/>
                    <a:pt x="22" y="16"/>
                    <a:pt x="22" y="17"/>
                  </a:cubicBezTo>
                  <a:cubicBezTo>
                    <a:pt x="23" y="17"/>
                    <a:pt x="24" y="18"/>
                    <a:pt x="24" y="18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lnTo>
                    <a:pt x="24" y="53"/>
                  </a:lnTo>
                  <a:close/>
                  <a:moveTo>
                    <a:pt x="24" y="26"/>
                  </a:moveTo>
                  <a:cubicBezTo>
                    <a:pt x="24" y="26"/>
                    <a:pt x="23" y="25"/>
                    <a:pt x="23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0" y="22"/>
                    <a:pt x="19" y="22"/>
                    <a:pt x="18" y="22"/>
                  </a:cubicBezTo>
                  <a:cubicBezTo>
                    <a:pt x="17" y="21"/>
                    <a:pt x="16" y="21"/>
                    <a:pt x="15" y="21"/>
                  </a:cubicBezTo>
                  <a:cubicBezTo>
                    <a:pt x="13" y="21"/>
                    <a:pt x="11" y="22"/>
                    <a:pt x="9" y="24"/>
                  </a:cubicBezTo>
                  <a:cubicBezTo>
                    <a:pt x="8" y="26"/>
                    <a:pt x="7" y="29"/>
                    <a:pt x="7" y="33"/>
                  </a:cubicBezTo>
                  <a:cubicBezTo>
                    <a:pt x="7" y="36"/>
                    <a:pt x="7" y="38"/>
                    <a:pt x="8" y="39"/>
                  </a:cubicBezTo>
                  <a:cubicBezTo>
                    <a:pt x="8" y="41"/>
                    <a:pt x="9" y="43"/>
                    <a:pt x="9" y="44"/>
                  </a:cubicBezTo>
                  <a:cubicBezTo>
                    <a:pt x="10" y="45"/>
                    <a:pt x="11" y="46"/>
                    <a:pt x="12" y="46"/>
                  </a:cubicBezTo>
                  <a:cubicBezTo>
                    <a:pt x="13" y="47"/>
                    <a:pt x="14" y="47"/>
                    <a:pt x="16" y="47"/>
                  </a:cubicBezTo>
                  <a:cubicBezTo>
                    <a:pt x="17" y="47"/>
                    <a:pt x="18" y="47"/>
                    <a:pt x="18" y="47"/>
                  </a:cubicBezTo>
                  <a:cubicBezTo>
                    <a:pt x="19" y="46"/>
                    <a:pt x="20" y="46"/>
                    <a:pt x="21" y="46"/>
                  </a:cubicBezTo>
                  <a:cubicBezTo>
                    <a:pt x="21" y="45"/>
                    <a:pt x="22" y="45"/>
                    <a:pt x="23" y="44"/>
                  </a:cubicBezTo>
                  <a:cubicBezTo>
                    <a:pt x="23" y="43"/>
                    <a:pt x="24" y="43"/>
                    <a:pt x="24" y="42"/>
                  </a:cubicBezTo>
                  <a:lnTo>
                    <a:pt x="24" y="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7" name="Freeform 65">
              <a:extLst>
                <a:ext uri="{FF2B5EF4-FFF2-40B4-BE49-F238E27FC236}">
                  <a16:creationId xmlns:a16="http://schemas.microsoft.com/office/drawing/2014/main" id="{F2BC9C1F-3F30-47A6-B503-20FB179B7F3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9624" y="6421821"/>
              <a:ext cx="122060" cy="97648"/>
            </a:xfrm>
            <a:custGeom>
              <a:avLst/>
              <a:gdLst>
                <a:gd name="T0" fmla="*/ 55 w 70"/>
                <a:gd name="T1" fmla="*/ 56 h 56"/>
                <a:gd name="T2" fmla="*/ 45 w 70"/>
                <a:gd name="T3" fmla="*/ 56 h 56"/>
                <a:gd name="T4" fmla="*/ 35 w 70"/>
                <a:gd name="T5" fmla="*/ 16 h 56"/>
                <a:gd name="T6" fmla="*/ 25 w 70"/>
                <a:gd name="T7" fmla="*/ 56 h 56"/>
                <a:gd name="T8" fmla="*/ 16 w 70"/>
                <a:gd name="T9" fmla="*/ 56 h 56"/>
                <a:gd name="T10" fmla="*/ 0 w 70"/>
                <a:gd name="T11" fmla="*/ 0 h 56"/>
                <a:gd name="T12" fmla="*/ 12 w 70"/>
                <a:gd name="T13" fmla="*/ 0 h 56"/>
                <a:gd name="T14" fmla="*/ 20 w 70"/>
                <a:gd name="T15" fmla="*/ 38 h 56"/>
                <a:gd name="T16" fmla="*/ 31 w 70"/>
                <a:gd name="T17" fmla="*/ 0 h 56"/>
                <a:gd name="T18" fmla="*/ 39 w 70"/>
                <a:gd name="T19" fmla="*/ 0 h 56"/>
                <a:gd name="T20" fmla="*/ 51 w 70"/>
                <a:gd name="T21" fmla="*/ 38 h 56"/>
                <a:gd name="T22" fmla="*/ 60 w 70"/>
                <a:gd name="T23" fmla="*/ 0 h 56"/>
                <a:gd name="T24" fmla="*/ 70 w 70"/>
                <a:gd name="T25" fmla="*/ 0 h 56"/>
                <a:gd name="T26" fmla="*/ 55 w 70"/>
                <a:gd name="T27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0" h="56">
                  <a:moveTo>
                    <a:pt x="55" y="56"/>
                  </a:moveTo>
                  <a:lnTo>
                    <a:pt x="45" y="56"/>
                  </a:lnTo>
                  <a:lnTo>
                    <a:pt x="35" y="16"/>
                  </a:lnTo>
                  <a:lnTo>
                    <a:pt x="25" y="56"/>
                  </a:lnTo>
                  <a:lnTo>
                    <a:pt x="16" y="56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0" y="38"/>
                  </a:lnTo>
                  <a:lnTo>
                    <a:pt x="31" y="0"/>
                  </a:lnTo>
                  <a:lnTo>
                    <a:pt x="39" y="0"/>
                  </a:lnTo>
                  <a:lnTo>
                    <a:pt x="51" y="38"/>
                  </a:lnTo>
                  <a:lnTo>
                    <a:pt x="60" y="0"/>
                  </a:lnTo>
                  <a:lnTo>
                    <a:pt x="70" y="0"/>
                  </a:lnTo>
                  <a:lnTo>
                    <a:pt x="55" y="5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8" name="Freeform 66">
              <a:extLst>
                <a:ext uri="{FF2B5EF4-FFF2-40B4-BE49-F238E27FC236}">
                  <a16:creationId xmlns:a16="http://schemas.microsoft.com/office/drawing/2014/main" id="{F2E1921C-CA0E-4886-93CA-956A6497CF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147" y="6418333"/>
              <a:ext cx="88930" cy="102879"/>
            </a:xfrm>
            <a:custGeom>
              <a:avLst/>
              <a:gdLst>
                <a:gd name="T0" fmla="*/ 35 w 35"/>
                <a:gd name="T1" fmla="*/ 20 h 40"/>
                <a:gd name="T2" fmla="*/ 33 w 35"/>
                <a:gd name="T3" fmla="*/ 28 h 40"/>
                <a:gd name="T4" fmla="*/ 30 w 35"/>
                <a:gd name="T5" fmla="*/ 35 h 40"/>
                <a:gd name="T6" fmla="*/ 24 w 35"/>
                <a:gd name="T7" fmla="*/ 39 h 40"/>
                <a:gd name="T8" fmla="*/ 17 w 35"/>
                <a:gd name="T9" fmla="*/ 40 h 40"/>
                <a:gd name="T10" fmla="*/ 11 w 35"/>
                <a:gd name="T11" fmla="*/ 39 h 40"/>
                <a:gd name="T12" fmla="*/ 5 w 35"/>
                <a:gd name="T13" fmla="*/ 35 h 40"/>
                <a:gd name="T14" fmla="*/ 2 w 35"/>
                <a:gd name="T15" fmla="*/ 28 h 40"/>
                <a:gd name="T16" fmla="*/ 0 w 35"/>
                <a:gd name="T17" fmla="*/ 20 h 40"/>
                <a:gd name="T18" fmla="*/ 2 w 35"/>
                <a:gd name="T19" fmla="*/ 12 h 40"/>
                <a:gd name="T20" fmla="*/ 5 w 35"/>
                <a:gd name="T21" fmla="*/ 5 h 40"/>
                <a:gd name="T22" fmla="*/ 11 w 35"/>
                <a:gd name="T23" fmla="*/ 1 h 40"/>
                <a:gd name="T24" fmla="*/ 18 w 35"/>
                <a:gd name="T25" fmla="*/ 0 h 40"/>
                <a:gd name="T26" fmla="*/ 24 w 35"/>
                <a:gd name="T27" fmla="*/ 1 h 40"/>
                <a:gd name="T28" fmla="*/ 30 w 35"/>
                <a:gd name="T29" fmla="*/ 5 h 40"/>
                <a:gd name="T30" fmla="*/ 33 w 35"/>
                <a:gd name="T31" fmla="*/ 12 h 40"/>
                <a:gd name="T32" fmla="*/ 35 w 35"/>
                <a:gd name="T33" fmla="*/ 20 h 40"/>
                <a:gd name="T34" fmla="*/ 27 w 35"/>
                <a:gd name="T35" fmla="*/ 20 h 40"/>
                <a:gd name="T36" fmla="*/ 26 w 35"/>
                <a:gd name="T37" fmla="*/ 15 h 40"/>
                <a:gd name="T38" fmla="*/ 24 w 35"/>
                <a:gd name="T39" fmla="*/ 11 h 40"/>
                <a:gd name="T40" fmla="*/ 21 w 35"/>
                <a:gd name="T41" fmla="*/ 8 h 40"/>
                <a:gd name="T42" fmla="*/ 17 w 35"/>
                <a:gd name="T43" fmla="*/ 7 h 40"/>
                <a:gd name="T44" fmla="*/ 13 w 35"/>
                <a:gd name="T45" fmla="*/ 8 h 40"/>
                <a:gd name="T46" fmla="*/ 10 w 35"/>
                <a:gd name="T47" fmla="*/ 11 h 40"/>
                <a:gd name="T48" fmla="*/ 9 w 35"/>
                <a:gd name="T49" fmla="*/ 15 h 40"/>
                <a:gd name="T50" fmla="*/ 8 w 35"/>
                <a:gd name="T51" fmla="*/ 20 h 40"/>
                <a:gd name="T52" fmla="*/ 9 w 35"/>
                <a:gd name="T53" fmla="*/ 26 h 40"/>
                <a:gd name="T54" fmla="*/ 11 w 35"/>
                <a:gd name="T55" fmla="*/ 30 h 40"/>
                <a:gd name="T56" fmla="*/ 14 w 35"/>
                <a:gd name="T57" fmla="*/ 32 h 40"/>
                <a:gd name="T58" fmla="*/ 18 w 35"/>
                <a:gd name="T59" fmla="*/ 33 h 40"/>
                <a:gd name="T60" fmla="*/ 21 w 35"/>
                <a:gd name="T61" fmla="*/ 32 h 40"/>
                <a:gd name="T62" fmla="*/ 24 w 35"/>
                <a:gd name="T63" fmla="*/ 29 h 40"/>
                <a:gd name="T64" fmla="*/ 26 w 35"/>
                <a:gd name="T65" fmla="*/ 25 h 40"/>
                <a:gd name="T66" fmla="*/ 27 w 35"/>
                <a:gd name="T67" fmla="*/ 2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" h="40">
                  <a:moveTo>
                    <a:pt x="35" y="20"/>
                  </a:moveTo>
                  <a:cubicBezTo>
                    <a:pt x="35" y="23"/>
                    <a:pt x="34" y="26"/>
                    <a:pt x="33" y="28"/>
                  </a:cubicBezTo>
                  <a:cubicBezTo>
                    <a:pt x="32" y="31"/>
                    <a:pt x="31" y="33"/>
                    <a:pt x="30" y="35"/>
                  </a:cubicBezTo>
                  <a:cubicBezTo>
                    <a:pt x="28" y="37"/>
                    <a:pt x="26" y="38"/>
                    <a:pt x="24" y="39"/>
                  </a:cubicBezTo>
                  <a:cubicBezTo>
                    <a:pt x="22" y="40"/>
                    <a:pt x="20" y="40"/>
                    <a:pt x="17" y="40"/>
                  </a:cubicBezTo>
                  <a:cubicBezTo>
                    <a:pt x="15" y="40"/>
                    <a:pt x="13" y="40"/>
                    <a:pt x="11" y="39"/>
                  </a:cubicBezTo>
                  <a:cubicBezTo>
                    <a:pt x="8" y="38"/>
                    <a:pt x="7" y="36"/>
                    <a:pt x="5" y="35"/>
                  </a:cubicBezTo>
                  <a:cubicBezTo>
                    <a:pt x="4" y="33"/>
                    <a:pt x="2" y="31"/>
                    <a:pt x="2" y="28"/>
                  </a:cubicBezTo>
                  <a:cubicBezTo>
                    <a:pt x="1" y="26"/>
                    <a:pt x="0" y="23"/>
                    <a:pt x="0" y="20"/>
                  </a:cubicBezTo>
                  <a:cubicBezTo>
                    <a:pt x="0" y="17"/>
                    <a:pt x="1" y="14"/>
                    <a:pt x="2" y="12"/>
                  </a:cubicBezTo>
                  <a:cubicBezTo>
                    <a:pt x="3" y="9"/>
                    <a:pt x="4" y="7"/>
                    <a:pt x="5" y="5"/>
                  </a:cubicBezTo>
                  <a:cubicBezTo>
                    <a:pt x="7" y="4"/>
                    <a:pt x="9" y="2"/>
                    <a:pt x="11" y="1"/>
                  </a:cubicBezTo>
                  <a:cubicBezTo>
                    <a:pt x="13" y="1"/>
                    <a:pt x="15" y="0"/>
                    <a:pt x="18" y="0"/>
                  </a:cubicBezTo>
                  <a:cubicBezTo>
                    <a:pt x="20" y="0"/>
                    <a:pt x="22" y="1"/>
                    <a:pt x="24" y="1"/>
                  </a:cubicBezTo>
                  <a:cubicBezTo>
                    <a:pt x="26" y="2"/>
                    <a:pt x="28" y="4"/>
                    <a:pt x="30" y="5"/>
                  </a:cubicBezTo>
                  <a:cubicBezTo>
                    <a:pt x="31" y="7"/>
                    <a:pt x="32" y="9"/>
                    <a:pt x="33" y="12"/>
                  </a:cubicBezTo>
                  <a:cubicBezTo>
                    <a:pt x="34" y="14"/>
                    <a:pt x="35" y="17"/>
                    <a:pt x="35" y="20"/>
                  </a:cubicBezTo>
                  <a:close/>
                  <a:moveTo>
                    <a:pt x="27" y="20"/>
                  </a:moveTo>
                  <a:cubicBezTo>
                    <a:pt x="27" y="18"/>
                    <a:pt x="27" y="16"/>
                    <a:pt x="26" y="15"/>
                  </a:cubicBezTo>
                  <a:cubicBezTo>
                    <a:pt x="26" y="13"/>
                    <a:pt x="25" y="12"/>
                    <a:pt x="24" y="11"/>
                  </a:cubicBezTo>
                  <a:cubicBezTo>
                    <a:pt x="24" y="10"/>
                    <a:pt x="23" y="9"/>
                    <a:pt x="21" y="8"/>
                  </a:cubicBezTo>
                  <a:cubicBezTo>
                    <a:pt x="20" y="8"/>
                    <a:pt x="19" y="7"/>
                    <a:pt x="17" y="7"/>
                  </a:cubicBezTo>
                  <a:cubicBezTo>
                    <a:pt x="16" y="7"/>
                    <a:pt x="14" y="8"/>
                    <a:pt x="13" y="8"/>
                  </a:cubicBezTo>
                  <a:cubicBezTo>
                    <a:pt x="12" y="9"/>
                    <a:pt x="11" y="10"/>
                    <a:pt x="10" y="11"/>
                  </a:cubicBezTo>
                  <a:cubicBezTo>
                    <a:pt x="10" y="12"/>
                    <a:pt x="9" y="13"/>
                    <a:pt x="9" y="15"/>
                  </a:cubicBezTo>
                  <a:cubicBezTo>
                    <a:pt x="8" y="16"/>
                    <a:pt x="8" y="18"/>
                    <a:pt x="8" y="20"/>
                  </a:cubicBezTo>
                  <a:cubicBezTo>
                    <a:pt x="8" y="22"/>
                    <a:pt x="8" y="24"/>
                    <a:pt x="9" y="26"/>
                  </a:cubicBezTo>
                  <a:cubicBezTo>
                    <a:pt x="9" y="27"/>
                    <a:pt x="10" y="28"/>
                    <a:pt x="11" y="30"/>
                  </a:cubicBezTo>
                  <a:cubicBezTo>
                    <a:pt x="11" y="31"/>
                    <a:pt x="12" y="32"/>
                    <a:pt x="14" y="32"/>
                  </a:cubicBezTo>
                  <a:cubicBezTo>
                    <a:pt x="15" y="33"/>
                    <a:pt x="16" y="33"/>
                    <a:pt x="18" y="33"/>
                  </a:cubicBezTo>
                  <a:cubicBezTo>
                    <a:pt x="19" y="33"/>
                    <a:pt x="20" y="33"/>
                    <a:pt x="21" y="32"/>
                  </a:cubicBezTo>
                  <a:cubicBezTo>
                    <a:pt x="23" y="31"/>
                    <a:pt x="24" y="30"/>
                    <a:pt x="24" y="29"/>
                  </a:cubicBezTo>
                  <a:cubicBezTo>
                    <a:pt x="25" y="28"/>
                    <a:pt x="26" y="27"/>
                    <a:pt x="26" y="25"/>
                  </a:cubicBezTo>
                  <a:cubicBezTo>
                    <a:pt x="27" y="24"/>
                    <a:pt x="27" y="22"/>
                    <a:pt x="27" y="2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49" name="Freeform 67">
              <a:extLst>
                <a:ext uri="{FF2B5EF4-FFF2-40B4-BE49-F238E27FC236}">
                  <a16:creationId xmlns:a16="http://schemas.microsoft.com/office/drawing/2014/main" id="{33147323-CD74-4B45-8B3D-9FC2D6ABC4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468514" y="6418333"/>
              <a:ext cx="59286" cy="101135"/>
            </a:xfrm>
            <a:custGeom>
              <a:avLst/>
              <a:gdLst>
                <a:gd name="T0" fmla="*/ 21 w 23"/>
                <a:gd name="T1" fmla="*/ 9 h 39"/>
                <a:gd name="T2" fmla="*/ 19 w 23"/>
                <a:gd name="T3" fmla="*/ 8 h 39"/>
                <a:gd name="T4" fmla="*/ 16 w 23"/>
                <a:gd name="T5" fmla="*/ 7 h 39"/>
                <a:gd name="T6" fmla="*/ 10 w 23"/>
                <a:gd name="T7" fmla="*/ 10 h 39"/>
                <a:gd name="T8" fmla="*/ 8 w 23"/>
                <a:gd name="T9" fmla="*/ 17 h 39"/>
                <a:gd name="T10" fmla="*/ 8 w 23"/>
                <a:gd name="T11" fmla="*/ 39 h 39"/>
                <a:gd name="T12" fmla="*/ 0 w 23"/>
                <a:gd name="T13" fmla="*/ 39 h 39"/>
                <a:gd name="T14" fmla="*/ 0 w 23"/>
                <a:gd name="T15" fmla="*/ 1 h 39"/>
                <a:gd name="T16" fmla="*/ 8 w 23"/>
                <a:gd name="T17" fmla="*/ 1 h 39"/>
                <a:gd name="T18" fmla="*/ 8 w 23"/>
                <a:gd name="T19" fmla="*/ 5 h 39"/>
                <a:gd name="T20" fmla="*/ 10 w 23"/>
                <a:gd name="T21" fmla="*/ 3 h 39"/>
                <a:gd name="T22" fmla="*/ 12 w 23"/>
                <a:gd name="T23" fmla="*/ 1 h 39"/>
                <a:gd name="T24" fmla="*/ 14 w 23"/>
                <a:gd name="T25" fmla="*/ 0 h 39"/>
                <a:gd name="T26" fmla="*/ 17 w 23"/>
                <a:gd name="T27" fmla="*/ 0 h 39"/>
                <a:gd name="T28" fmla="*/ 21 w 23"/>
                <a:gd name="T29" fmla="*/ 1 h 39"/>
                <a:gd name="T30" fmla="*/ 23 w 23"/>
                <a:gd name="T31" fmla="*/ 2 h 39"/>
                <a:gd name="T32" fmla="*/ 21 w 23"/>
                <a:gd name="T33" fmla="*/ 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3" h="39">
                  <a:moveTo>
                    <a:pt x="21" y="9"/>
                  </a:moveTo>
                  <a:cubicBezTo>
                    <a:pt x="20" y="8"/>
                    <a:pt x="20" y="8"/>
                    <a:pt x="19" y="8"/>
                  </a:cubicBezTo>
                  <a:cubicBezTo>
                    <a:pt x="18" y="8"/>
                    <a:pt x="17" y="7"/>
                    <a:pt x="16" y="7"/>
                  </a:cubicBezTo>
                  <a:cubicBezTo>
                    <a:pt x="13" y="7"/>
                    <a:pt x="11" y="8"/>
                    <a:pt x="10" y="10"/>
                  </a:cubicBezTo>
                  <a:cubicBezTo>
                    <a:pt x="9" y="12"/>
                    <a:pt x="8" y="14"/>
                    <a:pt x="8" y="17"/>
                  </a:cubicBezTo>
                  <a:cubicBezTo>
                    <a:pt x="8" y="39"/>
                    <a:pt x="8" y="39"/>
                    <a:pt x="8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9" y="3"/>
                    <a:pt x="10" y="3"/>
                  </a:cubicBezTo>
                  <a:cubicBezTo>
                    <a:pt x="10" y="2"/>
                    <a:pt x="11" y="2"/>
                    <a:pt x="12" y="1"/>
                  </a:cubicBezTo>
                  <a:cubicBezTo>
                    <a:pt x="12" y="1"/>
                    <a:pt x="13" y="1"/>
                    <a:pt x="14" y="0"/>
                  </a:cubicBezTo>
                  <a:cubicBezTo>
                    <a:pt x="15" y="0"/>
                    <a:pt x="16" y="0"/>
                    <a:pt x="17" y="0"/>
                  </a:cubicBezTo>
                  <a:cubicBezTo>
                    <a:pt x="18" y="0"/>
                    <a:pt x="20" y="0"/>
                    <a:pt x="21" y="1"/>
                  </a:cubicBezTo>
                  <a:cubicBezTo>
                    <a:pt x="22" y="1"/>
                    <a:pt x="23" y="1"/>
                    <a:pt x="23" y="2"/>
                  </a:cubicBezTo>
                  <a:lnTo>
                    <a:pt x="21" y="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0" name="Freeform 68">
              <a:extLst>
                <a:ext uri="{FF2B5EF4-FFF2-40B4-BE49-F238E27FC236}">
                  <a16:creationId xmlns:a16="http://schemas.microsoft.com/office/drawing/2014/main" id="{646502BE-8655-4E99-B8D3-19E6C1D2B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5237" y="6383459"/>
              <a:ext cx="76723" cy="136010"/>
            </a:xfrm>
            <a:custGeom>
              <a:avLst/>
              <a:gdLst>
                <a:gd name="T0" fmla="*/ 31 w 44"/>
                <a:gd name="T1" fmla="*/ 78 h 78"/>
                <a:gd name="T2" fmla="*/ 19 w 44"/>
                <a:gd name="T3" fmla="*/ 50 h 78"/>
                <a:gd name="T4" fmla="*/ 10 w 44"/>
                <a:gd name="T5" fmla="*/ 61 h 78"/>
                <a:gd name="T6" fmla="*/ 10 w 44"/>
                <a:gd name="T7" fmla="*/ 78 h 78"/>
                <a:gd name="T8" fmla="*/ 0 w 44"/>
                <a:gd name="T9" fmla="*/ 78 h 78"/>
                <a:gd name="T10" fmla="*/ 0 w 44"/>
                <a:gd name="T11" fmla="*/ 6 h 78"/>
                <a:gd name="T12" fmla="*/ 10 w 44"/>
                <a:gd name="T13" fmla="*/ 0 h 78"/>
                <a:gd name="T14" fmla="*/ 10 w 44"/>
                <a:gd name="T15" fmla="*/ 47 h 78"/>
                <a:gd name="T16" fmla="*/ 28 w 44"/>
                <a:gd name="T17" fmla="*/ 22 h 78"/>
                <a:gd name="T18" fmla="*/ 41 w 44"/>
                <a:gd name="T19" fmla="*/ 22 h 78"/>
                <a:gd name="T20" fmla="*/ 26 w 44"/>
                <a:gd name="T21" fmla="*/ 41 h 78"/>
                <a:gd name="T22" fmla="*/ 44 w 44"/>
                <a:gd name="T23" fmla="*/ 78 h 78"/>
                <a:gd name="T24" fmla="*/ 31 w 44"/>
                <a:gd name="T25" fmla="*/ 7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78">
                  <a:moveTo>
                    <a:pt x="31" y="78"/>
                  </a:moveTo>
                  <a:lnTo>
                    <a:pt x="19" y="50"/>
                  </a:lnTo>
                  <a:lnTo>
                    <a:pt x="10" y="61"/>
                  </a:lnTo>
                  <a:lnTo>
                    <a:pt x="10" y="78"/>
                  </a:lnTo>
                  <a:lnTo>
                    <a:pt x="0" y="78"/>
                  </a:lnTo>
                  <a:lnTo>
                    <a:pt x="0" y="6"/>
                  </a:lnTo>
                  <a:lnTo>
                    <a:pt x="10" y="0"/>
                  </a:lnTo>
                  <a:lnTo>
                    <a:pt x="10" y="47"/>
                  </a:lnTo>
                  <a:lnTo>
                    <a:pt x="28" y="22"/>
                  </a:lnTo>
                  <a:lnTo>
                    <a:pt x="41" y="22"/>
                  </a:lnTo>
                  <a:lnTo>
                    <a:pt x="26" y="41"/>
                  </a:lnTo>
                  <a:lnTo>
                    <a:pt x="44" y="78"/>
                  </a:lnTo>
                  <a:lnTo>
                    <a:pt x="31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1" name="Freeform 69">
              <a:extLst>
                <a:ext uri="{FF2B5EF4-FFF2-40B4-BE49-F238E27FC236}">
                  <a16:creationId xmlns:a16="http://schemas.microsoft.com/office/drawing/2014/main" id="{7B89F1B5-6B06-45D2-838B-039A44EFFD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628936" y="6418333"/>
              <a:ext cx="74980" cy="102879"/>
            </a:xfrm>
            <a:custGeom>
              <a:avLst/>
              <a:gdLst>
                <a:gd name="T0" fmla="*/ 28 w 29"/>
                <a:gd name="T1" fmla="*/ 4 h 40"/>
                <a:gd name="T2" fmla="*/ 25 w 29"/>
                <a:gd name="T3" fmla="*/ 10 h 40"/>
                <a:gd name="T4" fmla="*/ 20 w 29"/>
                <a:gd name="T5" fmla="*/ 8 h 40"/>
                <a:gd name="T6" fmla="*/ 15 w 29"/>
                <a:gd name="T7" fmla="*/ 7 h 40"/>
                <a:gd name="T8" fmla="*/ 11 w 29"/>
                <a:gd name="T9" fmla="*/ 8 h 40"/>
                <a:gd name="T10" fmla="*/ 9 w 29"/>
                <a:gd name="T11" fmla="*/ 10 h 40"/>
                <a:gd name="T12" fmla="*/ 10 w 29"/>
                <a:gd name="T13" fmla="*/ 12 h 40"/>
                <a:gd name="T14" fmla="*/ 11 w 29"/>
                <a:gd name="T15" fmla="*/ 13 h 40"/>
                <a:gd name="T16" fmla="*/ 13 w 29"/>
                <a:gd name="T17" fmla="*/ 14 h 40"/>
                <a:gd name="T18" fmla="*/ 17 w 29"/>
                <a:gd name="T19" fmla="*/ 16 h 40"/>
                <a:gd name="T20" fmla="*/ 22 w 29"/>
                <a:gd name="T21" fmla="*/ 18 h 40"/>
                <a:gd name="T22" fmla="*/ 26 w 29"/>
                <a:gd name="T23" fmla="*/ 21 h 40"/>
                <a:gd name="T24" fmla="*/ 29 w 29"/>
                <a:gd name="T25" fmla="*/ 24 h 40"/>
                <a:gd name="T26" fmla="*/ 29 w 29"/>
                <a:gd name="T27" fmla="*/ 29 h 40"/>
                <a:gd name="T28" fmla="*/ 28 w 29"/>
                <a:gd name="T29" fmla="*/ 34 h 40"/>
                <a:gd name="T30" fmla="*/ 25 w 29"/>
                <a:gd name="T31" fmla="*/ 38 h 40"/>
                <a:gd name="T32" fmla="*/ 21 w 29"/>
                <a:gd name="T33" fmla="*/ 40 h 40"/>
                <a:gd name="T34" fmla="*/ 15 w 29"/>
                <a:gd name="T35" fmla="*/ 40 h 40"/>
                <a:gd name="T36" fmla="*/ 7 w 29"/>
                <a:gd name="T37" fmla="*/ 39 h 40"/>
                <a:gd name="T38" fmla="*/ 0 w 29"/>
                <a:gd name="T39" fmla="*/ 35 h 40"/>
                <a:gd name="T40" fmla="*/ 4 w 29"/>
                <a:gd name="T41" fmla="*/ 30 h 40"/>
                <a:gd name="T42" fmla="*/ 9 w 29"/>
                <a:gd name="T43" fmla="*/ 32 h 40"/>
                <a:gd name="T44" fmla="*/ 15 w 29"/>
                <a:gd name="T45" fmla="*/ 33 h 40"/>
                <a:gd name="T46" fmla="*/ 20 w 29"/>
                <a:gd name="T47" fmla="*/ 32 h 40"/>
                <a:gd name="T48" fmla="*/ 22 w 29"/>
                <a:gd name="T49" fmla="*/ 29 h 40"/>
                <a:gd name="T50" fmla="*/ 21 w 29"/>
                <a:gd name="T51" fmla="*/ 27 h 40"/>
                <a:gd name="T52" fmla="*/ 20 w 29"/>
                <a:gd name="T53" fmla="*/ 26 h 40"/>
                <a:gd name="T54" fmla="*/ 17 w 29"/>
                <a:gd name="T55" fmla="*/ 24 h 40"/>
                <a:gd name="T56" fmla="*/ 13 w 29"/>
                <a:gd name="T57" fmla="*/ 23 h 40"/>
                <a:gd name="T58" fmla="*/ 8 w 29"/>
                <a:gd name="T59" fmla="*/ 20 h 40"/>
                <a:gd name="T60" fmla="*/ 4 w 29"/>
                <a:gd name="T61" fmla="*/ 18 h 40"/>
                <a:gd name="T62" fmla="*/ 2 w 29"/>
                <a:gd name="T63" fmla="*/ 15 h 40"/>
                <a:gd name="T64" fmla="*/ 2 w 29"/>
                <a:gd name="T65" fmla="*/ 11 h 40"/>
                <a:gd name="T66" fmla="*/ 3 w 29"/>
                <a:gd name="T67" fmla="*/ 6 h 40"/>
                <a:gd name="T68" fmla="*/ 6 w 29"/>
                <a:gd name="T69" fmla="*/ 3 h 40"/>
                <a:gd name="T70" fmla="*/ 10 w 29"/>
                <a:gd name="T71" fmla="*/ 1 h 40"/>
                <a:gd name="T72" fmla="*/ 15 w 29"/>
                <a:gd name="T73" fmla="*/ 0 h 40"/>
                <a:gd name="T74" fmla="*/ 22 w 29"/>
                <a:gd name="T75" fmla="*/ 1 h 40"/>
                <a:gd name="T76" fmla="*/ 28 w 29"/>
                <a:gd name="T77" fmla="*/ 4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9" h="40">
                  <a:moveTo>
                    <a:pt x="28" y="4"/>
                  </a:moveTo>
                  <a:cubicBezTo>
                    <a:pt x="25" y="10"/>
                    <a:pt x="25" y="10"/>
                    <a:pt x="25" y="10"/>
                  </a:cubicBezTo>
                  <a:cubicBezTo>
                    <a:pt x="23" y="9"/>
                    <a:pt x="22" y="8"/>
                    <a:pt x="20" y="8"/>
                  </a:cubicBezTo>
                  <a:cubicBezTo>
                    <a:pt x="18" y="7"/>
                    <a:pt x="17" y="7"/>
                    <a:pt x="15" y="7"/>
                  </a:cubicBezTo>
                  <a:cubicBezTo>
                    <a:pt x="13" y="7"/>
                    <a:pt x="12" y="7"/>
                    <a:pt x="11" y="8"/>
                  </a:cubicBezTo>
                  <a:cubicBezTo>
                    <a:pt x="10" y="8"/>
                    <a:pt x="9" y="9"/>
                    <a:pt x="9" y="10"/>
                  </a:cubicBezTo>
                  <a:cubicBezTo>
                    <a:pt x="9" y="11"/>
                    <a:pt x="10" y="11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1" y="13"/>
                    <a:pt x="12" y="14"/>
                    <a:pt x="13" y="14"/>
                  </a:cubicBezTo>
                  <a:cubicBezTo>
                    <a:pt x="14" y="15"/>
                    <a:pt x="15" y="15"/>
                    <a:pt x="17" y="16"/>
                  </a:cubicBezTo>
                  <a:cubicBezTo>
                    <a:pt x="19" y="17"/>
                    <a:pt x="21" y="18"/>
                    <a:pt x="22" y="18"/>
                  </a:cubicBezTo>
                  <a:cubicBezTo>
                    <a:pt x="24" y="19"/>
                    <a:pt x="25" y="20"/>
                    <a:pt x="26" y="21"/>
                  </a:cubicBezTo>
                  <a:cubicBezTo>
                    <a:pt x="27" y="22"/>
                    <a:pt x="28" y="23"/>
                    <a:pt x="29" y="24"/>
                  </a:cubicBezTo>
                  <a:cubicBezTo>
                    <a:pt x="29" y="25"/>
                    <a:pt x="29" y="27"/>
                    <a:pt x="29" y="29"/>
                  </a:cubicBezTo>
                  <a:cubicBezTo>
                    <a:pt x="29" y="31"/>
                    <a:pt x="29" y="33"/>
                    <a:pt x="28" y="34"/>
                  </a:cubicBezTo>
                  <a:cubicBezTo>
                    <a:pt x="28" y="36"/>
                    <a:pt x="26" y="37"/>
                    <a:pt x="25" y="38"/>
                  </a:cubicBezTo>
                  <a:cubicBezTo>
                    <a:pt x="24" y="39"/>
                    <a:pt x="22" y="39"/>
                    <a:pt x="21" y="40"/>
                  </a:cubicBezTo>
                  <a:cubicBezTo>
                    <a:pt x="19" y="40"/>
                    <a:pt x="17" y="40"/>
                    <a:pt x="15" y="40"/>
                  </a:cubicBezTo>
                  <a:cubicBezTo>
                    <a:pt x="13" y="40"/>
                    <a:pt x="10" y="40"/>
                    <a:pt x="7" y="39"/>
                  </a:cubicBezTo>
                  <a:cubicBezTo>
                    <a:pt x="5" y="38"/>
                    <a:pt x="2" y="37"/>
                    <a:pt x="0" y="35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6" y="31"/>
                    <a:pt x="7" y="32"/>
                    <a:pt x="9" y="32"/>
                  </a:cubicBezTo>
                  <a:cubicBezTo>
                    <a:pt x="11" y="33"/>
                    <a:pt x="13" y="33"/>
                    <a:pt x="15" y="33"/>
                  </a:cubicBezTo>
                  <a:cubicBezTo>
                    <a:pt x="17" y="33"/>
                    <a:pt x="19" y="33"/>
                    <a:pt x="20" y="32"/>
                  </a:cubicBezTo>
                  <a:cubicBezTo>
                    <a:pt x="21" y="31"/>
                    <a:pt x="22" y="30"/>
                    <a:pt x="22" y="29"/>
                  </a:cubicBezTo>
                  <a:cubicBezTo>
                    <a:pt x="22" y="28"/>
                    <a:pt x="22" y="28"/>
                    <a:pt x="21" y="27"/>
                  </a:cubicBezTo>
                  <a:cubicBezTo>
                    <a:pt x="21" y="27"/>
                    <a:pt x="20" y="26"/>
                    <a:pt x="20" y="26"/>
                  </a:cubicBezTo>
                  <a:cubicBezTo>
                    <a:pt x="19" y="25"/>
                    <a:pt x="18" y="25"/>
                    <a:pt x="17" y="24"/>
                  </a:cubicBezTo>
                  <a:cubicBezTo>
                    <a:pt x="16" y="24"/>
                    <a:pt x="15" y="23"/>
                    <a:pt x="13" y="23"/>
                  </a:cubicBezTo>
                  <a:cubicBezTo>
                    <a:pt x="11" y="22"/>
                    <a:pt x="9" y="21"/>
                    <a:pt x="8" y="20"/>
                  </a:cubicBezTo>
                  <a:cubicBezTo>
                    <a:pt x="6" y="19"/>
                    <a:pt x="5" y="19"/>
                    <a:pt x="4" y="18"/>
                  </a:cubicBezTo>
                  <a:cubicBezTo>
                    <a:pt x="3" y="17"/>
                    <a:pt x="3" y="16"/>
                    <a:pt x="2" y="15"/>
                  </a:cubicBezTo>
                  <a:cubicBezTo>
                    <a:pt x="2" y="13"/>
                    <a:pt x="2" y="12"/>
                    <a:pt x="2" y="11"/>
                  </a:cubicBezTo>
                  <a:cubicBezTo>
                    <a:pt x="2" y="9"/>
                    <a:pt x="2" y="7"/>
                    <a:pt x="3" y="6"/>
                  </a:cubicBezTo>
                  <a:cubicBezTo>
                    <a:pt x="3" y="5"/>
                    <a:pt x="4" y="4"/>
                    <a:pt x="6" y="3"/>
                  </a:cubicBezTo>
                  <a:cubicBezTo>
                    <a:pt x="7" y="2"/>
                    <a:pt x="8" y="1"/>
                    <a:pt x="10" y="1"/>
                  </a:cubicBezTo>
                  <a:cubicBezTo>
                    <a:pt x="11" y="0"/>
                    <a:pt x="13" y="0"/>
                    <a:pt x="15" y="0"/>
                  </a:cubicBezTo>
                  <a:cubicBezTo>
                    <a:pt x="17" y="0"/>
                    <a:pt x="20" y="0"/>
                    <a:pt x="22" y="1"/>
                  </a:cubicBezTo>
                  <a:cubicBezTo>
                    <a:pt x="24" y="2"/>
                    <a:pt x="26" y="3"/>
                    <a:pt x="28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  <p:sp>
          <p:nvSpPr>
            <p:cNvPr id="252" name="Freeform 70">
              <a:extLst>
                <a:ext uri="{FF2B5EF4-FFF2-40B4-BE49-F238E27FC236}">
                  <a16:creationId xmlns:a16="http://schemas.microsoft.com/office/drawing/2014/main" id="{07A005EC-C937-4146-8D02-C00C5931EBCD}"/>
                </a:ext>
              </a:extLst>
            </p:cNvPr>
            <p:cNvSpPr>
              <a:spLocks/>
            </p:cNvSpPr>
            <p:nvPr/>
          </p:nvSpPr>
          <p:spPr bwMode="auto">
            <a:xfrm>
              <a:off x="2723096" y="6489826"/>
              <a:ext cx="27899" cy="31387"/>
            </a:xfrm>
            <a:custGeom>
              <a:avLst/>
              <a:gdLst>
                <a:gd name="T0" fmla="*/ 11 w 11"/>
                <a:gd name="T1" fmla="*/ 6 h 12"/>
                <a:gd name="T2" fmla="*/ 11 w 11"/>
                <a:gd name="T3" fmla="*/ 9 h 12"/>
                <a:gd name="T4" fmla="*/ 10 w 11"/>
                <a:gd name="T5" fmla="*/ 10 h 12"/>
                <a:gd name="T6" fmla="*/ 8 w 11"/>
                <a:gd name="T7" fmla="*/ 12 h 12"/>
                <a:gd name="T8" fmla="*/ 6 w 11"/>
                <a:gd name="T9" fmla="*/ 12 h 12"/>
                <a:gd name="T10" fmla="*/ 3 w 11"/>
                <a:gd name="T11" fmla="*/ 12 h 12"/>
                <a:gd name="T12" fmla="*/ 1 w 11"/>
                <a:gd name="T13" fmla="*/ 10 h 12"/>
                <a:gd name="T14" fmla="*/ 0 w 11"/>
                <a:gd name="T15" fmla="*/ 9 h 12"/>
                <a:gd name="T16" fmla="*/ 0 w 11"/>
                <a:gd name="T17" fmla="*/ 6 h 12"/>
                <a:gd name="T18" fmla="*/ 0 w 11"/>
                <a:gd name="T19" fmla="*/ 4 h 12"/>
                <a:gd name="T20" fmla="*/ 1 w 11"/>
                <a:gd name="T21" fmla="*/ 2 h 12"/>
                <a:gd name="T22" fmla="*/ 3 w 11"/>
                <a:gd name="T23" fmla="*/ 1 h 12"/>
                <a:gd name="T24" fmla="*/ 6 w 11"/>
                <a:gd name="T25" fmla="*/ 0 h 12"/>
                <a:gd name="T26" fmla="*/ 8 w 11"/>
                <a:gd name="T27" fmla="*/ 1 h 12"/>
                <a:gd name="T28" fmla="*/ 10 w 11"/>
                <a:gd name="T29" fmla="*/ 2 h 12"/>
                <a:gd name="T30" fmla="*/ 11 w 11"/>
                <a:gd name="T31" fmla="*/ 4 h 12"/>
                <a:gd name="T32" fmla="*/ 11 w 11"/>
                <a:gd name="T3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" h="12">
                  <a:moveTo>
                    <a:pt x="11" y="6"/>
                  </a:moveTo>
                  <a:cubicBezTo>
                    <a:pt x="11" y="7"/>
                    <a:pt x="11" y="8"/>
                    <a:pt x="11" y="9"/>
                  </a:cubicBezTo>
                  <a:cubicBezTo>
                    <a:pt x="11" y="9"/>
                    <a:pt x="10" y="10"/>
                    <a:pt x="10" y="10"/>
                  </a:cubicBezTo>
                  <a:cubicBezTo>
                    <a:pt x="9" y="11"/>
                    <a:pt x="9" y="11"/>
                    <a:pt x="8" y="12"/>
                  </a:cubicBezTo>
                  <a:cubicBezTo>
                    <a:pt x="7" y="12"/>
                    <a:pt x="6" y="12"/>
                    <a:pt x="6" y="12"/>
                  </a:cubicBezTo>
                  <a:cubicBezTo>
                    <a:pt x="5" y="12"/>
                    <a:pt x="4" y="12"/>
                    <a:pt x="3" y="12"/>
                  </a:cubicBezTo>
                  <a:cubicBezTo>
                    <a:pt x="3" y="11"/>
                    <a:pt x="2" y="11"/>
                    <a:pt x="1" y="10"/>
                  </a:cubicBezTo>
                  <a:cubicBezTo>
                    <a:pt x="1" y="10"/>
                    <a:pt x="1" y="9"/>
                    <a:pt x="0" y="9"/>
                  </a:cubicBezTo>
                  <a:cubicBezTo>
                    <a:pt x="0" y="8"/>
                    <a:pt x="0" y="7"/>
                    <a:pt x="0" y="6"/>
                  </a:cubicBezTo>
                  <a:cubicBezTo>
                    <a:pt x="0" y="6"/>
                    <a:pt x="0" y="5"/>
                    <a:pt x="0" y="4"/>
                  </a:cubicBezTo>
                  <a:cubicBezTo>
                    <a:pt x="1" y="3"/>
                    <a:pt x="1" y="3"/>
                    <a:pt x="1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4" y="1"/>
                    <a:pt x="5" y="0"/>
                    <a:pt x="6" y="0"/>
                  </a:cubicBezTo>
                  <a:cubicBezTo>
                    <a:pt x="6" y="0"/>
                    <a:pt x="7" y="1"/>
                    <a:pt x="8" y="1"/>
                  </a:cubicBezTo>
                  <a:cubicBezTo>
                    <a:pt x="9" y="1"/>
                    <a:pt x="9" y="2"/>
                    <a:pt x="10" y="2"/>
                  </a:cubicBezTo>
                  <a:cubicBezTo>
                    <a:pt x="10" y="3"/>
                    <a:pt x="11" y="3"/>
                    <a:pt x="11" y="4"/>
                  </a:cubicBezTo>
                  <a:cubicBezTo>
                    <a:pt x="11" y="5"/>
                    <a:pt x="11" y="6"/>
                    <a:pt x="11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>
                <a:solidFill>
                  <a:schemeClr val="bg1"/>
                </a:solidFill>
              </a:endParaRPr>
            </a:p>
          </p:txBody>
        </p:sp>
      </p:grpSp>
      <p:sp>
        <p:nvSpPr>
          <p:cNvPr id="263" name="Title 1">
            <a:extLst>
              <a:ext uri="{FF2B5EF4-FFF2-40B4-BE49-F238E27FC236}">
                <a16:creationId xmlns:a16="http://schemas.microsoft.com/office/drawing/2014/main" id="{3F36D6CC-3534-47CC-AECE-83EDA4639FB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4388" y="2158329"/>
            <a:ext cx="3998354" cy="860400"/>
          </a:xfrm>
          <a:prstGeom prst="rect">
            <a:avLst/>
          </a:prstGeom>
        </p:spPr>
        <p:txBody>
          <a:bodyPr/>
          <a:lstStyle>
            <a:lvl1pPr>
              <a:defRPr sz="2999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264" name="Subtitle 2">
            <a:extLst>
              <a:ext uri="{FF2B5EF4-FFF2-40B4-BE49-F238E27FC236}">
                <a16:creationId xmlns:a16="http://schemas.microsoft.com/office/drawing/2014/main" id="{C26FB38E-4E99-4AFB-8C8C-F03F7A963D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4580" y="3200329"/>
            <a:ext cx="4018535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999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  <a:lvl2pPr marL="0" indent="0" algn="l">
              <a:buNone/>
              <a:defRPr sz="1599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3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9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8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7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AE95BC52-A56D-4358-A294-750179EBB698}"/>
              </a:ext>
            </a:extLst>
          </p:cNvPr>
          <p:cNvGrpSpPr/>
          <p:nvPr/>
        </p:nvGrpSpPr>
        <p:grpSpPr>
          <a:xfrm>
            <a:off x="489112" y="876059"/>
            <a:ext cx="4852768" cy="3374475"/>
            <a:chOff x="6855933" y="899048"/>
            <a:chExt cx="4855295" cy="3374475"/>
          </a:xfrm>
          <a:solidFill>
            <a:schemeClr val="tx2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ECBD2AD5-9A79-4CFE-A808-769ADC8898F3}"/>
                </a:ext>
              </a:extLst>
            </p:cNvPr>
            <p:cNvSpPr/>
            <p:nvPr/>
          </p:nvSpPr>
          <p:spPr>
            <a:xfrm>
              <a:off x="6855933" y="899048"/>
              <a:ext cx="4855295" cy="3374475"/>
            </a:xfrm>
            <a:custGeom>
              <a:avLst/>
              <a:gdLst>
                <a:gd name="connsiteX0" fmla="*/ 6731 w 4855294"/>
                <a:gd name="connsiteY0" fmla="*/ 863542 h 3374474"/>
                <a:gd name="connsiteX1" fmla="*/ 6731 w 4855294"/>
                <a:gd name="connsiteY1" fmla="*/ 3095901 h 3374474"/>
                <a:gd name="connsiteX2" fmla="*/ 145659 w 4855294"/>
                <a:gd name="connsiteY2" fmla="*/ 3095901 h 3374474"/>
                <a:gd name="connsiteX3" fmla="*/ 145659 w 4855294"/>
                <a:gd name="connsiteY3" fmla="*/ 988380 h 3374474"/>
                <a:gd name="connsiteX4" fmla="*/ 4715918 w 4855294"/>
                <a:gd name="connsiteY4" fmla="*/ 179673 h 3374474"/>
                <a:gd name="connsiteX5" fmla="*/ 4715918 w 4855294"/>
                <a:gd name="connsiteY5" fmla="*/ 3234829 h 3374474"/>
                <a:gd name="connsiteX6" fmla="*/ 840208 w 4855294"/>
                <a:gd name="connsiteY6" fmla="*/ 3234829 h 3374474"/>
                <a:gd name="connsiteX7" fmla="*/ 840208 w 4855294"/>
                <a:gd name="connsiteY7" fmla="*/ 3373757 h 3374474"/>
                <a:gd name="connsiteX8" fmla="*/ 4854846 w 4855294"/>
                <a:gd name="connsiteY8" fmla="*/ 3373757 h 3374474"/>
                <a:gd name="connsiteX9" fmla="*/ 4854846 w 4855294"/>
                <a:gd name="connsiteY9" fmla="*/ 6731 h 3374474"/>
                <a:gd name="connsiteX10" fmla="*/ 6731 w 4855294"/>
                <a:gd name="connsiteY10" fmla="*/ 863542 h 3374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855294" h="3374474">
                  <a:moveTo>
                    <a:pt x="6731" y="863542"/>
                  </a:moveTo>
                  <a:lnTo>
                    <a:pt x="6731" y="3095901"/>
                  </a:lnTo>
                  <a:lnTo>
                    <a:pt x="145659" y="3095901"/>
                  </a:lnTo>
                  <a:lnTo>
                    <a:pt x="145659" y="988380"/>
                  </a:lnTo>
                  <a:lnTo>
                    <a:pt x="4715918" y="179673"/>
                  </a:lnTo>
                  <a:lnTo>
                    <a:pt x="4715918" y="3234829"/>
                  </a:lnTo>
                  <a:lnTo>
                    <a:pt x="840208" y="3234829"/>
                  </a:lnTo>
                  <a:lnTo>
                    <a:pt x="840208" y="3373757"/>
                  </a:lnTo>
                  <a:lnTo>
                    <a:pt x="4854846" y="3373757"/>
                  </a:lnTo>
                  <a:lnTo>
                    <a:pt x="4854846" y="6731"/>
                  </a:lnTo>
                  <a:lnTo>
                    <a:pt x="6731" y="86354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9EE673CB-A779-4F64-B72D-93428DD2B26D}"/>
                </a:ext>
              </a:extLst>
            </p:cNvPr>
            <p:cNvSpPr/>
            <p:nvPr/>
          </p:nvSpPr>
          <p:spPr>
            <a:xfrm>
              <a:off x="6855933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8144C98-507D-403B-8819-FBBF64A82FA3}"/>
                </a:ext>
              </a:extLst>
            </p:cNvPr>
            <p:cNvSpPr/>
            <p:nvPr/>
          </p:nvSpPr>
          <p:spPr>
            <a:xfrm>
              <a:off x="7133789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21919CB3-2430-4DA6-BF41-59A1EF9C03CB}"/>
                </a:ext>
              </a:extLst>
            </p:cNvPr>
            <p:cNvSpPr/>
            <p:nvPr/>
          </p:nvSpPr>
          <p:spPr>
            <a:xfrm>
              <a:off x="7411555" y="4127146"/>
              <a:ext cx="143595" cy="143595"/>
            </a:xfrm>
            <a:custGeom>
              <a:avLst/>
              <a:gdLst>
                <a:gd name="connsiteX0" fmla="*/ 6731 w 143594"/>
                <a:gd name="connsiteY0" fmla="*/ 6731 h 143594"/>
                <a:gd name="connsiteX1" fmla="*/ 145659 w 143594"/>
                <a:gd name="connsiteY1" fmla="*/ 6731 h 143594"/>
                <a:gd name="connsiteX2" fmla="*/ 145659 w 143594"/>
                <a:gd name="connsiteY2" fmla="*/ 145659 h 143594"/>
                <a:gd name="connsiteX3" fmla="*/ 6731 w 143594"/>
                <a:gd name="connsiteY3" fmla="*/ 145659 h 143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594" h="143594">
                  <a:moveTo>
                    <a:pt x="6731" y="6731"/>
                  </a:moveTo>
                  <a:lnTo>
                    <a:pt x="145659" y="6731"/>
                  </a:lnTo>
                  <a:lnTo>
                    <a:pt x="145659" y="145659"/>
                  </a:lnTo>
                  <a:lnTo>
                    <a:pt x="6731" y="145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 sz="1799" dirty="0"/>
            </a:p>
          </p:txBody>
        </p:sp>
      </p:grpSp>
      <p:grpSp>
        <p:nvGrpSpPr>
          <p:cNvPr id="82" name="Group 4">
            <a:extLst>
              <a:ext uri="{FF2B5EF4-FFF2-40B4-BE49-F238E27FC236}">
                <a16:creationId xmlns:a16="http://schemas.microsoft.com/office/drawing/2014/main" id="{C5FADEE5-07C4-41A9-88D6-C6D2ED1362B8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359392" y="4960938"/>
            <a:ext cx="1224912" cy="1435100"/>
            <a:chOff x="6529" y="3125"/>
            <a:chExt cx="772" cy="904"/>
          </a:xfrm>
        </p:grpSpPr>
        <p:sp>
          <p:nvSpPr>
            <p:cNvPr id="83" name="Freeform 5">
              <a:extLst>
                <a:ext uri="{FF2B5EF4-FFF2-40B4-BE49-F238E27FC236}">
                  <a16:creationId xmlns:a16="http://schemas.microsoft.com/office/drawing/2014/main" id="{5A2C465B-7D43-431D-A35E-50762E769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9" y="3125"/>
              <a:ext cx="619" cy="226"/>
            </a:xfrm>
            <a:custGeom>
              <a:avLst/>
              <a:gdLst>
                <a:gd name="T0" fmla="*/ 2473 w 2473"/>
                <a:gd name="T1" fmla="*/ 0 h 902"/>
                <a:gd name="T2" fmla="*/ 0 w 2473"/>
                <a:gd name="T3" fmla="*/ 902 h 902"/>
                <a:gd name="T4" fmla="*/ 2473 w 2473"/>
                <a:gd name="T5" fmla="*/ 466 h 902"/>
                <a:gd name="T6" fmla="*/ 2473 w 2473"/>
                <a:gd name="T7" fmla="*/ 0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73" h="902">
                  <a:moveTo>
                    <a:pt x="2473" y="0"/>
                  </a:moveTo>
                  <a:lnTo>
                    <a:pt x="0" y="902"/>
                  </a:lnTo>
                  <a:lnTo>
                    <a:pt x="2473" y="466"/>
                  </a:lnTo>
                  <a:lnTo>
                    <a:pt x="2473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84" name="Freeform 6">
              <a:extLst>
                <a:ext uri="{FF2B5EF4-FFF2-40B4-BE49-F238E27FC236}">
                  <a16:creationId xmlns:a16="http://schemas.microsoft.com/office/drawing/2014/main" id="{AC35E6C1-71A8-4C9D-A1A5-682B0BD0A0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9" y="3444"/>
              <a:ext cx="772" cy="585"/>
            </a:xfrm>
            <a:custGeom>
              <a:avLst/>
              <a:gdLst>
                <a:gd name="T0" fmla="*/ 233 w 3088"/>
                <a:gd name="T1" fmla="*/ 1588 h 2339"/>
                <a:gd name="T2" fmla="*/ 253 w 3088"/>
                <a:gd name="T3" fmla="*/ 1795 h 2339"/>
                <a:gd name="T4" fmla="*/ 151 w 3088"/>
                <a:gd name="T5" fmla="*/ 1810 h 2339"/>
                <a:gd name="T6" fmla="*/ 351 w 3088"/>
                <a:gd name="T7" fmla="*/ 1761 h 2339"/>
                <a:gd name="T8" fmla="*/ 416 w 3088"/>
                <a:gd name="T9" fmla="*/ 1857 h 2339"/>
                <a:gd name="T10" fmla="*/ 1140 w 3088"/>
                <a:gd name="T11" fmla="*/ 1652 h 2339"/>
                <a:gd name="T12" fmla="*/ 1216 w 3088"/>
                <a:gd name="T13" fmla="*/ 1738 h 2339"/>
                <a:gd name="T14" fmla="*/ 696 w 3088"/>
                <a:gd name="T15" fmla="*/ 1546 h 2339"/>
                <a:gd name="T16" fmla="*/ 738 w 3088"/>
                <a:gd name="T17" fmla="*/ 1710 h 2339"/>
                <a:gd name="T18" fmla="*/ 860 w 3088"/>
                <a:gd name="T19" fmla="*/ 1854 h 2339"/>
                <a:gd name="T20" fmla="*/ 832 w 3088"/>
                <a:gd name="T21" fmla="*/ 1684 h 2339"/>
                <a:gd name="T22" fmla="*/ 2021 w 3088"/>
                <a:gd name="T23" fmla="*/ 1860 h 2339"/>
                <a:gd name="T24" fmla="*/ 2158 w 3088"/>
                <a:gd name="T25" fmla="*/ 1747 h 2339"/>
                <a:gd name="T26" fmla="*/ 2100 w 3088"/>
                <a:gd name="T27" fmla="*/ 1730 h 2339"/>
                <a:gd name="T28" fmla="*/ 2059 w 3088"/>
                <a:gd name="T29" fmla="*/ 1684 h 2339"/>
                <a:gd name="T30" fmla="*/ 1309 w 3088"/>
                <a:gd name="T31" fmla="*/ 1734 h 2339"/>
                <a:gd name="T32" fmla="*/ 1445 w 3088"/>
                <a:gd name="T33" fmla="*/ 1844 h 2339"/>
                <a:gd name="T34" fmla="*/ 1473 w 3088"/>
                <a:gd name="T35" fmla="*/ 1923 h 2339"/>
                <a:gd name="T36" fmla="*/ 1369 w 3088"/>
                <a:gd name="T37" fmla="*/ 1781 h 2339"/>
                <a:gd name="T38" fmla="*/ 1727 w 3088"/>
                <a:gd name="T39" fmla="*/ 1677 h 2339"/>
                <a:gd name="T40" fmla="*/ 1632 w 3088"/>
                <a:gd name="T41" fmla="*/ 1778 h 2339"/>
                <a:gd name="T42" fmla="*/ 1822 w 3088"/>
                <a:gd name="T43" fmla="*/ 1710 h 2339"/>
                <a:gd name="T44" fmla="*/ 1686 w 3088"/>
                <a:gd name="T45" fmla="*/ 1786 h 2339"/>
                <a:gd name="T46" fmla="*/ 1708 w 3088"/>
                <a:gd name="T47" fmla="*/ 1817 h 2339"/>
                <a:gd name="T48" fmla="*/ 2240 w 3088"/>
                <a:gd name="T49" fmla="*/ 1766 h 2339"/>
                <a:gd name="T50" fmla="*/ 2227 w 3088"/>
                <a:gd name="T51" fmla="*/ 1653 h 2339"/>
                <a:gd name="T52" fmla="*/ 2290 w 3088"/>
                <a:gd name="T53" fmla="*/ 1866 h 2339"/>
                <a:gd name="T54" fmla="*/ 2321 w 3088"/>
                <a:gd name="T55" fmla="*/ 1709 h 2339"/>
                <a:gd name="T56" fmla="*/ 2908 w 3088"/>
                <a:gd name="T57" fmla="*/ 1750 h 2339"/>
                <a:gd name="T58" fmla="*/ 2730 w 3088"/>
                <a:gd name="T59" fmla="*/ 1683 h 2339"/>
                <a:gd name="T60" fmla="*/ 2852 w 3088"/>
                <a:gd name="T61" fmla="*/ 1860 h 2339"/>
                <a:gd name="T62" fmla="*/ 2639 w 3088"/>
                <a:gd name="T63" fmla="*/ 1783 h 2339"/>
                <a:gd name="T64" fmla="*/ 2605 w 3088"/>
                <a:gd name="T65" fmla="*/ 1853 h 2339"/>
                <a:gd name="T66" fmla="*/ 2464 w 3088"/>
                <a:gd name="T67" fmla="*/ 1861 h 2339"/>
                <a:gd name="T68" fmla="*/ 2495 w 3088"/>
                <a:gd name="T69" fmla="*/ 1812 h 2339"/>
                <a:gd name="T70" fmla="*/ 2998 w 3088"/>
                <a:gd name="T71" fmla="*/ 1639 h 2339"/>
                <a:gd name="T72" fmla="*/ 975 w 3088"/>
                <a:gd name="T73" fmla="*/ 1860 h 2339"/>
                <a:gd name="T74" fmla="*/ 2416 w 3088"/>
                <a:gd name="T75" fmla="*/ 2069 h 2339"/>
                <a:gd name="T76" fmla="*/ 2510 w 3088"/>
                <a:gd name="T77" fmla="*/ 2251 h 2339"/>
                <a:gd name="T78" fmla="*/ 2485 w 3088"/>
                <a:gd name="T79" fmla="*/ 2074 h 2339"/>
                <a:gd name="T80" fmla="*/ 627 w 3088"/>
                <a:gd name="T81" fmla="*/ 2078 h 2339"/>
                <a:gd name="T82" fmla="*/ 672 w 3088"/>
                <a:gd name="T83" fmla="*/ 2089 h 2339"/>
                <a:gd name="T84" fmla="*/ 202 w 3088"/>
                <a:gd name="T85" fmla="*/ 2135 h 2339"/>
                <a:gd name="T86" fmla="*/ 310 w 3088"/>
                <a:gd name="T87" fmla="*/ 2174 h 2339"/>
                <a:gd name="T88" fmla="*/ 503 w 3088"/>
                <a:gd name="T89" fmla="*/ 2174 h 2339"/>
                <a:gd name="T90" fmla="*/ 374 w 3088"/>
                <a:gd name="T91" fmla="*/ 2185 h 2339"/>
                <a:gd name="T92" fmla="*/ 439 w 3088"/>
                <a:gd name="T93" fmla="*/ 2185 h 2339"/>
                <a:gd name="T94" fmla="*/ 2197 w 3088"/>
                <a:gd name="T95" fmla="*/ 2040 h 2339"/>
                <a:gd name="T96" fmla="*/ 1597 w 3088"/>
                <a:gd name="T97" fmla="*/ 2027 h 2339"/>
                <a:gd name="T98" fmla="*/ 1937 w 3088"/>
                <a:gd name="T99" fmla="*/ 2047 h 2339"/>
                <a:gd name="T100" fmla="*/ 2002 w 3088"/>
                <a:gd name="T101" fmla="*/ 2254 h 2339"/>
                <a:gd name="T102" fmla="*/ 2061 w 3088"/>
                <a:gd name="T103" fmla="*/ 2041 h 2339"/>
                <a:gd name="T104" fmla="*/ 2002 w 3088"/>
                <a:gd name="T105" fmla="*/ 2073 h 2339"/>
                <a:gd name="T106" fmla="*/ 767 w 3088"/>
                <a:gd name="T107" fmla="*/ 1934 h 2339"/>
                <a:gd name="T108" fmla="*/ 1202 w 3088"/>
                <a:gd name="T109" fmla="*/ 2037 h 2339"/>
                <a:gd name="T110" fmla="*/ 1108 w 3088"/>
                <a:gd name="T111" fmla="*/ 2086 h 2339"/>
                <a:gd name="T112" fmla="*/ 1280 w 3088"/>
                <a:gd name="T113" fmla="*/ 2078 h 2339"/>
                <a:gd name="T114" fmla="*/ 1385 w 3088"/>
                <a:gd name="T115" fmla="*/ 2249 h 2339"/>
                <a:gd name="T116" fmla="*/ 1403 w 3088"/>
                <a:gd name="T117" fmla="*/ 2332 h 2339"/>
                <a:gd name="T118" fmla="*/ 1354 w 3088"/>
                <a:gd name="T119" fmla="*/ 2200 h 2339"/>
                <a:gd name="T120" fmla="*/ 993 w 3088"/>
                <a:gd name="T121" fmla="*/ 2123 h 2339"/>
                <a:gd name="T122" fmla="*/ 397 w 3088"/>
                <a:gd name="T123" fmla="*/ 963 h 2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088" h="2339">
                  <a:moveTo>
                    <a:pt x="257" y="1763"/>
                  </a:moveTo>
                  <a:lnTo>
                    <a:pt x="257" y="1763"/>
                  </a:lnTo>
                  <a:lnTo>
                    <a:pt x="257" y="1755"/>
                  </a:lnTo>
                  <a:lnTo>
                    <a:pt x="256" y="1749"/>
                  </a:lnTo>
                  <a:lnTo>
                    <a:pt x="253" y="1736"/>
                  </a:lnTo>
                  <a:lnTo>
                    <a:pt x="247" y="1725"/>
                  </a:lnTo>
                  <a:lnTo>
                    <a:pt x="241" y="1716"/>
                  </a:lnTo>
                  <a:lnTo>
                    <a:pt x="233" y="1709"/>
                  </a:lnTo>
                  <a:lnTo>
                    <a:pt x="225" y="1704"/>
                  </a:lnTo>
                  <a:lnTo>
                    <a:pt x="219" y="1699"/>
                  </a:lnTo>
                  <a:lnTo>
                    <a:pt x="212" y="1696"/>
                  </a:lnTo>
                  <a:lnTo>
                    <a:pt x="212" y="1696"/>
                  </a:lnTo>
                  <a:lnTo>
                    <a:pt x="220" y="1690"/>
                  </a:lnTo>
                  <a:lnTo>
                    <a:pt x="226" y="1685"/>
                  </a:lnTo>
                  <a:lnTo>
                    <a:pt x="232" y="1678"/>
                  </a:lnTo>
                  <a:lnTo>
                    <a:pt x="237" y="1671"/>
                  </a:lnTo>
                  <a:lnTo>
                    <a:pt x="242" y="1663"/>
                  </a:lnTo>
                  <a:lnTo>
                    <a:pt x="244" y="1654"/>
                  </a:lnTo>
                  <a:lnTo>
                    <a:pt x="246" y="1645"/>
                  </a:lnTo>
                  <a:lnTo>
                    <a:pt x="246" y="1635"/>
                  </a:lnTo>
                  <a:lnTo>
                    <a:pt x="246" y="1635"/>
                  </a:lnTo>
                  <a:lnTo>
                    <a:pt x="246" y="1626"/>
                  </a:lnTo>
                  <a:lnTo>
                    <a:pt x="245" y="1618"/>
                  </a:lnTo>
                  <a:lnTo>
                    <a:pt x="243" y="1610"/>
                  </a:lnTo>
                  <a:lnTo>
                    <a:pt x="241" y="1602"/>
                  </a:lnTo>
                  <a:lnTo>
                    <a:pt x="237" y="1594"/>
                  </a:lnTo>
                  <a:lnTo>
                    <a:pt x="233" y="1588"/>
                  </a:lnTo>
                  <a:lnTo>
                    <a:pt x="227" y="1582"/>
                  </a:lnTo>
                  <a:lnTo>
                    <a:pt x="222" y="1577"/>
                  </a:lnTo>
                  <a:lnTo>
                    <a:pt x="215" y="1572"/>
                  </a:lnTo>
                  <a:lnTo>
                    <a:pt x="209" y="1568"/>
                  </a:lnTo>
                  <a:lnTo>
                    <a:pt x="201" y="1565"/>
                  </a:lnTo>
                  <a:lnTo>
                    <a:pt x="192" y="1561"/>
                  </a:lnTo>
                  <a:lnTo>
                    <a:pt x="183" y="1559"/>
                  </a:lnTo>
                  <a:lnTo>
                    <a:pt x="173" y="1557"/>
                  </a:lnTo>
                  <a:lnTo>
                    <a:pt x="163" y="1557"/>
                  </a:lnTo>
                  <a:lnTo>
                    <a:pt x="152" y="1556"/>
                  </a:lnTo>
                  <a:lnTo>
                    <a:pt x="22" y="1556"/>
                  </a:lnTo>
                  <a:lnTo>
                    <a:pt x="22" y="1860"/>
                  </a:lnTo>
                  <a:lnTo>
                    <a:pt x="151" y="1860"/>
                  </a:lnTo>
                  <a:lnTo>
                    <a:pt x="151" y="1860"/>
                  </a:lnTo>
                  <a:lnTo>
                    <a:pt x="163" y="1860"/>
                  </a:lnTo>
                  <a:lnTo>
                    <a:pt x="174" y="1859"/>
                  </a:lnTo>
                  <a:lnTo>
                    <a:pt x="185" y="1857"/>
                  </a:lnTo>
                  <a:lnTo>
                    <a:pt x="195" y="1854"/>
                  </a:lnTo>
                  <a:lnTo>
                    <a:pt x="205" y="1850"/>
                  </a:lnTo>
                  <a:lnTo>
                    <a:pt x="214" y="1846"/>
                  </a:lnTo>
                  <a:lnTo>
                    <a:pt x="222" y="1840"/>
                  </a:lnTo>
                  <a:lnTo>
                    <a:pt x="228" y="1835"/>
                  </a:lnTo>
                  <a:lnTo>
                    <a:pt x="235" y="1828"/>
                  </a:lnTo>
                  <a:lnTo>
                    <a:pt x="241" y="1821"/>
                  </a:lnTo>
                  <a:lnTo>
                    <a:pt x="246" y="1813"/>
                  </a:lnTo>
                  <a:lnTo>
                    <a:pt x="249" y="1804"/>
                  </a:lnTo>
                  <a:lnTo>
                    <a:pt x="253" y="1795"/>
                  </a:lnTo>
                  <a:lnTo>
                    <a:pt x="255" y="1785"/>
                  </a:lnTo>
                  <a:lnTo>
                    <a:pt x="256" y="1774"/>
                  </a:lnTo>
                  <a:lnTo>
                    <a:pt x="257" y="1763"/>
                  </a:lnTo>
                  <a:lnTo>
                    <a:pt x="257" y="1763"/>
                  </a:lnTo>
                  <a:close/>
                  <a:moveTo>
                    <a:pt x="151" y="1810"/>
                  </a:moveTo>
                  <a:lnTo>
                    <a:pt x="78" y="1810"/>
                  </a:lnTo>
                  <a:lnTo>
                    <a:pt x="78" y="1722"/>
                  </a:lnTo>
                  <a:lnTo>
                    <a:pt x="151" y="1722"/>
                  </a:lnTo>
                  <a:lnTo>
                    <a:pt x="151" y="1722"/>
                  </a:lnTo>
                  <a:lnTo>
                    <a:pt x="162" y="1723"/>
                  </a:lnTo>
                  <a:lnTo>
                    <a:pt x="171" y="1725"/>
                  </a:lnTo>
                  <a:lnTo>
                    <a:pt x="179" y="1728"/>
                  </a:lnTo>
                  <a:lnTo>
                    <a:pt x="185" y="1733"/>
                  </a:lnTo>
                  <a:lnTo>
                    <a:pt x="191" y="1739"/>
                  </a:lnTo>
                  <a:lnTo>
                    <a:pt x="194" y="1747"/>
                  </a:lnTo>
                  <a:lnTo>
                    <a:pt x="196" y="1755"/>
                  </a:lnTo>
                  <a:lnTo>
                    <a:pt x="198" y="1765"/>
                  </a:lnTo>
                  <a:lnTo>
                    <a:pt x="198" y="1765"/>
                  </a:lnTo>
                  <a:lnTo>
                    <a:pt x="196" y="1775"/>
                  </a:lnTo>
                  <a:lnTo>
                    <a:pt x="194" y="1784"/>
                  </a:lnTo>
                  <a:lnTo>
                    <a:pt x="190" y="1792"/>
                  </a:lnTo>
                  <a:lnTo>
                    <a:pt x="185" y="1797"/>
                  </a:lnTo>
                  <a:lnTo>
                    <a:pt x="179" y="1803"/>
                  </a:lnTo>
                  <a:lnTo>
                    <a:pt x="171" y="1806"/>
                  </a:lnTo>
                  <a:lnTo>
                    <a:pt x="161" y="1808"/>
                  </a:lnTo>
                  <a:lnTo>
                    <a:pt x="151" y="1810"/>
                  </a:lnTo>
                  <a:lnTo>
                    <a:pt x="151" y="1810"/>
                  </a:lnTo>
                  <a:close/>
                  <a:moveTo>
                    <a:pt x="150" y="1673"/>
                  </a:moveTo>
                  <a:lnTo>
                    <a:pt x="78" y="1673"/>
                  </a:lnTo>
                  <a:lnTo>
                    <a:pt x="78" y="1608"/>
                  </a:lnTo>
                  <a:lnTo>
                    <a:pt x="148" y="1608"/>
                  </a:lnTo>
                  <a:lnTo>
                    <a:pt x="148" y="1608"/>
                  </a:lnTo>
                  <a:lnTo>
                    <a:pt x="157" y="1609"/>
                  </a:lnTo>
                  <a:lnTo>
                    <a:pt x="166" y="1610"/>
                  </a:lnTo>
                  <a:lnTo>
                    <a:pt x="172" y="1612"/>
                  </a:lnTo>
                  <a:lnTo>
                    <a:pt x="178" y="1615"/>
                  </a:lnTo>
                  <a:lnTo>
                    <a:pt x="182" y="1621"/>
                  </a:lnTo>
                  <a:lnTo>
                    <a:pt x="185" y="1626"/>
                  </a:lnTo>
                  <a:lnTo>
                    <a:pt x="187" y="1633"/>
                  </a:lnTo>
                  <a:lnTo>
                    <a:pt x="188" y="1641"/>
                  </a:lnTo>
                  <a:lnTo>
                    <a:pt x="188" y="1641"/>
                  </a:lnTo>
                  <a:lnTo>
                    <a:pt x="188" y="1646"/>
                  </a:lnTo>
                  <a:lnTo>
                    <a:pt x="187" y="1652"/>
                  </a:lnTo>
                  <a:lnTo>
                    <a:pt x="184" y="1657"/>
                  </a:lnTo>
                  <a:lnTo>
                    <a:pt x="181" y="1662"/>
                  </a:lnTo>
                  <a:lnTo>
                    <a:pt x="175" y="1666"/>
                  </a:lnTo>
                  <a:lnTo>
                    <a:pt x="169" y="1669"/>
                  </a:lnTo>
                  <a:lnTo>
                    <a:pt x="161" y="1672"/>
                  </a:lnTo>
                  <a:lnTo>
                    <a:pt x="150" y="1673"/>
                  </a:lnTo>
                  <a:lnTo>
                    <a:pt x="150" y="1673"/>
                  </a:lnTo>
                  <a:close/>
                  <a:moveTo>
                    <a:pt x="296" y="1764"/>
                  </a:moveTo>
                  <a:lnTo>
                    <a:pt x="296" y="1639"/>
                  </a:lnTo>
                  <a:lnTo>
                    <a:pt x="351" y="1639"/>
                  </a:lnTo>
                  <a:lnTo>
                    <a:pt x="351" y="1761"/>
                  </a:lnTo>
                  <a:lnTo>
                    <a:pt x="351" y="1761"/>
                  </a:lnTo>
                  <a:lnTo>
                    <a:pt x="351" y="1773"/>
                  </a:lnTo>
                  <a:lnTo>
                    <a:pt x="353" y="1785"/>
                  </a:lnTo>
                  <a:lnTo>
                    <a:pt x="356" y="1794"/>
                  </a:lnTo>
                  <a:lnTo>
                    <a:pt x="361" y="1802"/>
                  </a:lnTo>
                  <a:lnTo>
                    <a:pt x="366" y="1807"/>
                  </a:lnTo>
                  <a:lnTo>
                    <a:pt x="373" y="1812"/>
                  </a:lnTo>
                  <a:lnTo>
                    <a:pt x="382" y="1814"/>
                  </a:lnTo>
                  <a:lnTo>
                    <a:pt x="392" y="1815"/>
                  </a:lnTo>
                  <a:lnTo>
                    <a:pt x="392" y="1815"/>
                  </a:lnTo>
                  <a:lnTo>
                    <a:pt x="402" y="1814"/>
                  </a:lnTo>
                  <a:lnTo>
                    <a:pt x="409" y="1812"/>
                  </a:lnTo>
                  <a:lnTo>
                    <a:pt x="417" y="1807"/>
                  </a:lnTo>
                  <a:lnTo>
                    <a:pt x="423" y="1802"/>
                  </a:lnTo>
                  <a:lnTo>
                    <a:pt x="427" y="1794"/>
                  </a:lnTo>
                  <a:lnTo>
                    <a:pt x="430" y="1784"/>
                  </a:lnTo>
                  <a:lnTo>
                    <a:pt x="433" y="1773"/>
                  </a:lnTo>
                  <a:lnTo>
                    <a:pt x="433" y="1761"/>
                  </a:lnTo>
                  <a:lnTo>
                    <a:pt x="433" y="1639"/>
                  </a:lnTo>
                  <a:lnTo>
                    <a:pt x="488" y="1639"/>
                  </a:lnTo>
                  <a:lnTo>
                    <a:pt x="488" y="1860"/>
                  </a:lnTo>
                  <a:lnTo>
                    <a:pt x="433" y="1860"/>
                  </a:lnTo>
                  <a:lnTo>
                    <a:pt x="433" y="1843"/>
                  </a:lnTo>
                  <a:lnTo>
                    <a:pt x="433" y="1843"/>
                  </a:lnTo>
                  <a:lnTo>
                    <a:pt x="428" y="1848"/>
                  </a:lnTo>
                  <a:lnTo>
                    <a:pt x="422" y="1853"/>
                  </a:lnTo>
                  <a:lnTo>
                    <a:pt x="416" y="1857"/>
                  </a:lnTo>
                  <a:lnTo>
                    <a:pt x="409" y="1859"/>
                  </a:lnTo>
                  <a:lnTo>
                    <a:pt x="403" y="1862"/>
                  </a:lnTo>
                  <a:lnTo>
                    <a:pt x="395" y="1864"/>
                  </a:lnTo>
                  <a:lnTo>
                    <a:pt x="387" y="1865"/>
                  </a:lnTo>
                  <a:lnTo>
                    <a:pt x="380" y="1866"/>
                  </a:lnTo>
                  <a:lnTo>
                    <a:pt x="380" y="1866"/>
                  </a:lnTo>
                  <a:lnTo>
                    <a:pt x="366" y="1865"/>
                  </a:lnTo>
                  <a:lnTo>
                    <a:pt x="355" y="1862"/>
                  </a:lnTo>
                  <a:lnTo>
                    <a:pt x="345" y="1859"/>
                  </a:lnTo>
                  <a:lnTo>
                    <a:pt x="336" y="1855"/>
                  </a:lnTo>
                  <a:lnTo>
                    <a:pt x="328" y="1849"/>
                  </a:lnTo>
                  <a:lnTo>
                    <a:pt x="321" y="1844"/>
                  </a:lnTo>
                  <a:lnTo>
                    <a:pt x="316" y="1836"/>
                  </a:lnTo>
                  <a:lnTo>
                    <a:pt x="310" y="1828"/>
                  </a:lnTo>
                  <a:lnTo>
                    <a:pt x="307" y="1821"/>
                  </a:lnTo>
                  <a:lnTo>
                    <a:pt x="304" y="1813"/>
                  </a:lnTo>
                  <a:lnTo>
                    <a:pt x="299" y="1795"/>
                  </a:lnTo>
                  <a:lnTo>
                    <a:pt x="297" y="1779"/>
                  </a:lnTo>
                  <a:lnTo>
                    <a:pt x="296" y="1764"/>
                  </a:lnTo>
                  <a:lnTo>
                    <a:pt x="296" y="1764"/>
                  </a:lnTo>
                  <a:close/>
                  <a:moveTo>
                    <a:pt x="1135" y="1860"/>
                  </a:moveTo>
                  <a:lnTo>
                    <a:pt x="1079" y="1860"/>
                  </a:lnTo>
                  <a:lnTo>
                    <a:pt x="1079" y="1639"/>
                  </a:lnTo>
                  <a:lnTo>
                    <a:pt x="1135" y="1639"/>
                  </a:lnTo>
                  <a:lnTo>
                    <a:pt x="1135" y="1657"/>
                  </a:lnTo>
                  <a:lnTo>
                    <a:pt x="1135" y="1657"/>
                  </a:lnTo>
                  <a:lnTo>
                    <a:pt x="1140" y="1652"/>
                  </a:lnTo>
                  <a:lnTo>
                    <a:pt x="1146" y="1646"/>
                  </a:lnTo>
                  <a:lnTo>
                    <a:pt x="1152" y="1643"/>
                  </a:lnTo>
                  <a:lnTo>
                    <a:pt x="1159" y="1640"/>
                  </a:lnTo>
                  <a:lnTo>
                    <a:pt x="1167" y="1636"/>
                  </a:lnTo>
                  <a:lnTo>
                    <a:pt x="1173" y="1635"/>
                  </a:lnTo>
                  <a:lnTo>
                    <a:pt x="1182" y="1634"/>
                  </a:lnTo>
                  <a:lnTo>
                    <a:pt x="1190" y="1633"/>
                  </a:lnTo>
                  <a:lnTo>
                    <a:pt x="1190" y="1633"/>
                  </a:lnTo>
                  <a:lnTo>
                    <a:pt x="1200" y="1634"/>
                  </a:lnTo>
                  <a:lnTo>
                    <a:pt x="1208" y="1635"/>
                  </a:lnTo>
                  <a:lnTo>
                    <a:pt x="1217" y="1637"/>
                  </a:lnTo>
                  <a:lnTo>
                    <a:pt x="1225" y="1640"/>
                  </a:lnTo>
                  <a:lnTo>
                    <a:pt x="1233" y="1643"/>
                  </a:lnTo>
                  <a:lnTo>
                    <a:pt x="1239" y="1648"/>
                  </a:lnTo>
                  <a:lnTo>
                    <a:pt x="1245" y="1653"/>
                  </a:lnTo>
                  <a:lnTo>
                    <a:pt x="1250" y="1659"/>
                  </a:lnTo>
                  <a:lnTo>
                    <a:pt x="1256" y="1666"/>
                  </a:lnTo>
                  <a:lnTo>
                    <a:pt x="1259" y="1674"/>
                  </a:lnTo>
                  <a:lnTo>
                    <a:pt x="1264" y="1682"/>
                  </a:lnTo>
                  <a:lnTo>
                    <a:pt x="1266" y="1690"/>
                  </a:lnTo>
                  <a:lnTo>
                    <a:pt x="1268" y="1700"/>
                  </a:lnTo>
                  <a:lnTo>
                    <a:pt x="1270" y="1711"/>
                  </a:lnTo>
                  <a:lnTo>
                    <a:pt x="1271" y="1722"/>
                  </a:lnTo>
                  <a:lnTo>
                    <a:pt x="1271" y="1734"/>
                  </a:lnTo>
                  <a:lnTo>
                    <a:pt x="1271" y="1860"/>
                  </a:lnTo>
                  <a:lnTo>
                    <a:pt x="1216" y="1860"/>
                  </a:lnTo>
                  <a:lnTo>
                    <a:pt x="1216" y="1738"/>
                  </a:lnTo>
                  <a:lnTo>
                    <a:pt x="1216" y="1738"/>
                  </a:lnTo>
                  <a:lnTo>
                    <a:pt x="1216" y="1725"/>
                  </a:lnTo>
                  <a:lnTo>
                    <a:pt x="1214" y="1714"/>
                  </a:lnTo>
                  <a:lnTo>
                    <a:pt x="1211" y="1705"/>
                  </a:lnTo>
                  <a:lnTo>
                    <a:pt x="1206" y="1697"/>
                  </a:lnTo>
                  <a:lnTo>
                    <a:pt x="1201" y="1691"/>
                  </a:lnTo>
                  <a:lnTo>
                    <a:pt x="1194" y="1687"/>
                  </a:lnTo>
                  <a:lnTo>
                    <a:pt x="1186" y="1685"/>
                  </a:lnTo>
                  <a:lnTo>
                    <a:pt x="1176" y="1684"/>
                  </a:lnTo>
                  <a:lnTo>
                    <a:pt x="1176" y="1684"/>
                  </a:lnTo>
                  <a:lnTo>
                    <a:pt x="1167" y="1685"/>
                  </a:lnTo>
                  <a:lnTo>
                    <a:pt x="1158" y="1687"/>
                  </a:lnTo>
                  <a:lnTo>
                    <a:pt x="1151" y="1691"/>
                  </a:lnTo>
                  <a:lnTo>
                    <a:pt x="1146" y="1697"/>
                  </a:lnTo>
                  <a:lnTo>
                    <a:pt x="1140" y="1705"/>
                  </a:lnTo>
                  <a:lnTo>
                    <a:pt x="1137" y="1715"/>
                  </a:lnTo>
                  <a:lnTo>
                    <a:pt x="1135" y="1726"/>
                  </a:lnTo>
                  <a:lnTo>
                    <a:pt x="1135" y="1738"/>
                  </a:lnTo>
                  <a:lnTo>
                    <a:pt x="1135" y="1860"/>
                  </a:lnTo>
                  <a:close/>
                  <a:moveTo>
                    <a:pt x="593" y="1742"/>
                  </a:moveTo>
                  <a:lnTo>
                    <a:pt x="593" y="1860"/>
                  </a:lnTo>
                  <a:lnTo>
                    <a:pt x="537" y="1860"/>
                  </a:lnTo>
                  <a:lnTo>
                    <a:pt x="537" y="1639"/>
                  </a:lnTo>
                  <a:lnTo>
                    <a:pt x="593" y="1639"/>
                  </a:lnTo>
                  <a:lnTo>
                    <a:pt x="593" y="1742"/>
                  </a:lnTo>
                  <a:close/>
                  <a:moveTo>
                    <a:pt x="641" y="1573"/>
                  </a:moveTo>
                  <a:lnTo>
                    <a:pt x="696" y="1546"/>
                  </a:lnTo>
                  <a:lnTo>
                    <a:pt x="696" y="1747"/>
                  </a:lnTo>
                  <a:lnTo>
                    <a:pt x="696" y="1860"/>
                  </a:lnTo>
                  <a:lnTo>
                    <a:pt x="641" y="1860"/>
                  </a:lnTo>
                  <a:lnTo>
                    <a:pt x="641" y="1573"/>
                  </a:lnTo>
                  <a:close/>
                  <a:moveTo>
                    <a:pt x="871" y="1654"/>
                  </a:moveTo>
                  <a:lnTo>
                    <a:pt x="871" y="1654"/>
                  </a:lnTo>
                  <a:lnTo>
                    <a:pt x="866" y="1648"/>
                  </a:lnTo>
                  <a:lnTo>
                    <a:pt x="861" y="1645"/>
                  </a:lnTo>
                  <a:lnTo>
                    <a:pt x="854" y="1641"/>
                  </a:lnTo>
                  <a:lnTo>
                    <a:pt x="849" y="1639"/>
                  </a:lnTo>
                  <a:lnTo>
                    <a:pt x="842" y="1636"/>
                  </a:lnTo>
                  <a:lnTo>
                    <a:pt x="835" y="1634"/>
                  </a:lnTo>
                  <a:lnTo>
                    <a:pt x="822" y="1633"/>
                  </a:lnTo>
                  <a:lnTo>
                    <a:pt x="822" y="1633"/>
                  </a:lnTo>
                  <a:lnTo>
                    <a:pt x="812" y="1634"/>
                  </a:lnTo>
                  <a:lnTo>
                    <a:pt x="802" y="1635"/>
                  </a:lnTo>
                  <a:lnTo>
                    <a:pt x="794" y="1637"/>
                  </a:lnTo>
                  <a:lnTo>
                    <a:pt x="786" y="1641"/>
                  </a:lnTo>
                  <a:lnTo>
                    <a:pt x="778" y="1645"/>
                  </a:lnTo>
                  <a:lnTo>
                    <a:pt x="770" y="1651"/>
                  </a:lnTo>
                  <a:lnTo>
                    <a:pt x="764" y="1657"/>
                  </a:lnTo>
                  <a:lnTo>
                    <a:pt x="758" y="1664"/>
                  </a:lnTo>
                  <a:lnTo>
                    <a:pt x="753" y="1672"/>
                  </a:lnTo>
                  <a:lnTo>
                    <a:pt x="748" y="1680"/>
                  </a:lnTo>
                  <a:lnTo>
                    <a:pt x="744" y="1689"/>
                  </a:lnTo>
                  <a:lnTo>
                    <a:pt x="741" y="1699"/>
                  </a:lnTo>
                  <a:lnTo>
                    <a:pt x="738" y="1710"/>
                  </a:lnTo>
                  <a:lnTo>
                    <a:pt x="736" y="1722"/>
                  </a:lnTo>
                  <a:lnTo>
                    <a:pt x="735" y="1734"/>
                  </a:lnTo>
                  <a:lnTo>
                    <a:pt x="735" y="1747"/>
                  </a:lnTo>
                  <a:lnTo>
                    <a:pt x="735" y="1747"/>
                  </a:lnTo>
                  <a:lnTo>
                    <a:pt x="735" y="1761"/>
                  </a:lnTo>
                  <a:lnTo>
                    <a:pt x="736" y="1773"/>
                  </a:lnTo>
                  <a:lnTo>
                    <a:pt x="738" y="1785"/>
                  </a:lnTo>
                  <a:lnTo>
                    <a:pt x="741" y="1796"/>
                  </a:lnTo>
                  <a:lnTo>
                    <a:pt x="744" y="1807"/>
                  </a:lnTo>
                  <a:lnTo>
                    <a:pt x="747" y="1817"/>
                  </a:lnTo>
                  <a:lnTo>
                    <a:pt x="752" y="1826"/>
                  </a:lnTo>
                  <a:lnTo>
                    <a:pt x="757" y="1834"/>
                  </a:lnTo>
                  <a:lnTo>
                    <a:pt x="764" y="1841"/>
                  </a:lnTo>
                  <a:lnTo>
                    <a:pt x="769" y="1847"/>
                  </a:lnTo>
                  <a:lnTo>
                    <a:pt x="777" y="1853"/>
                  </a:lnTo>
                  <a:lnTo>
                    <a:pt x="785" y="1857"/>
                  </a:lnTo>
                  <a:lnTo>
                    <a:pt x="792" y="1860"/>
                  </a:lnTo>
                  <a:lnTo>
                    <a:pt x="801" y="1864"/>
                  </a:lnTo>
                  <a:lnTo>
                    <a:pt x="811" y="1865"/>
                  </a:lnTo>
                  <a:lnTo>
                    <a:pt x="821" y="1866"/>
                  </a:lnTo>
                  <a:lnTo>
                    <a:pt x="821" y="1866"/>
                  </a:lnTo>
                  <a:lnTo>
                    <a:pt x="828" y="1865"/>
                  </a:lnTo>
                  <a:lnTo>
                    <a:pt x="834" y="1864"/>
                  </a:lnTo>
                  <a:lnTo>
                    <a:pt x="841" y="1862"/>
                  </a:lnTo>
                  <a:lnTo>
                    <a:pt x="848" y="1860"/>
                  </a:lnTo>
                  <a:lnTo>
                    <a:pt x="853" y="1857"/>
                  </a:lnTo>
                  <a:lnTo>
                    <a:pt x="860" y="1854"/>
                  </a:lnTo>
                  <a:lnTo>
                    <a:pt x="865" y="1849"/>
                  </a:lnTo>
                  <a:lnTo>
                    <a:pt x="871" y="1844"/>
                  </a:lnTo>
                  <a:lnTo>
                    <a:pt x="871" y="1860"/>
                  </a:lnTo>
                  <a:lnTo>
                    <a:pt x="926" y="1860"/>
                  </a:lnTo>
                  <a:lnTo>
                    <a:pt x="926" y="1546"/>
                  </a:lnTo>
                  <a:lnTo>
                    <a:pt x="871" y="1573"/>
                  </a:lnTo>
                  <a:lnTo>
                    <a:pt x="871" y="1654"/>
                  </a:lnTo>
                  <a:close/>
                  <a:moveTo>
                    <a:pt x="832" y="1815"/>
                  </a:moveTo>
                  <a:lnTo>
                    <a:pt x="832" y="1815"/>
                  </a:lnTo>
                  <a:lnTo>
                    <a:pt x="826" y="1814"/>
                  </a:lnTo>
                  <a:lnTo>
                    <a:pt x="818" y="1812"/>
                  </a:lnTo>
                  <a:lnTo>
                    <a:pt x="811" y="1808"/>
                  </a:lnTo>
                  <a:lnTo>
                    <a:pt x="805" y="1802"/>
                  </a:lnTo>
                  <a:lnTo>
                    <a:pt x="799" y="1793"/>
                  </a:lnTo>
                  <a:lnTo>
                    <a:pt x="795" y="1781"/>
                  </a:lnTo>
                  <a:lnTo>
                    <a:pt x="791" y="1765"/>
                  </a:lnTo>
                  <a:lnTo>
                    <a:pt x="790" y="1746"/>
                  </a:lnTo>
                  <a:lnTo>
                    <a:pt x="790" y="1746"/>
                  </a:lnTo>
                  <a:lnTo>
                    <a:pt x="791" y="1728"/>
                  </a:lnTo>
                  <a:lnTo>
                    <a:pt x="795" y="1715"/>
                  </a:lnTo>
                  <a:lnTo>
                    <a:pt x="799" y="1704"/>
                  </a:lnTo>
                  <a:lnTo>
                    <a:pt x="805" y="1696"/>
                  </a:lnTo>
                  <a:lnTo>
                    <a:pt x="810" y="1689"/>
                  </a:lnTo>
                  <a:lnTo>
                    <a:pt x="818" y="1686"/>
                  </a:lnTo>
                  <a:lnTo>
                    <a:pt x="824" y="1684"/>
                  </a:lnTo>
                  <a:lnTo>
                    <a:pt x="832" y="1684"/>
                  </a:lnTo>
                  <a:lnTo>
                    <a:pt x="832" y="1684"/>
                  </a:lnTo>
                  <a:lnTo>
                    <a:pt x="839" y="1684"/>
                  </a:lnTo>
                  <a:lnTo>
                    <a:pt x="845" y="1686"/>
                  </a:lnTo>
                  <a:lnTo>
                    <a:pt x="852" y="1688"/>
                  </a:lnTo>
                  <a:lnTo>
                    <a:pt x="856" y="1691"/>
                  </a:lnTo>
                  <a:lnTo>
                    <a:pt x="861" y="1695"/>
                  </a:lnTo>
                  <a:lnTo>
                    <a:pt x="865" y="1698"/>
                  </a:lnTo>
                  <a:lnTo>
                    <a:pt x="871" y="1706"/>
                  </a:lnTo>
                  <a:lnTo>
                    <a:pt x="871" y="1793"/>
                  </a:lnTo>
                  <a:lnTo>
                    <a:pt x="871" y="1793"/>
                  </a:lnTo>
                  <a:lnTo>
                    <a:pt x="864" y="1801"/>
                  </a:lnTo>
                  <a:lnTo>
                    <a:pt x="856" y="1807"/>
                  </a:lnTo>
                  <a:lnTo>
                    <a:pt x="852" y="1811"/>
                  </a:lnTo>
                  <a:lnTo>
                    <a:pt x="845" y="1813"/>
                  </a:lnTo>
                  <a:lnTo>
                    <a:pt x="840" y="1814"/>
                  </a:lnTo>
                  <a:lnTo>
                    <a:pt x="832" y="1815"/>
                  </a:lnTo>
                  <a:lnTo>
                    <a:pt x="832" y="1815"/>
                  </a:lnTo>
                  <a:close/>
                  <a:moveTo>
                    <a:pt x="2069" y="1633"/>
                  </a:moveTo>
                  <a:lnTo>
                    <a:pt x="2069" y="1633"/>
                  </a:lnTo>
                  <a:lnTo>
                    <a:pt x="2064" y="1634"/>
                  </a:lnTo>
                  <a:lnTo>
                    <a:pt x="2057" y="1635"/>
                  </a:lnTo>
                  <a:lnTo>
                    <a:pt x="2044" y="1639"/>
                  </a:lnTo>
                  <a:lnTo>
                    <a:pt x="2032" y="1645"/>
                  </a:lnTo>
                  <a:lnTo>
                    <a:pt x="2021" y="1654"/>
                  </a:lnTo>
                  <a:lnTo>
                    <a:pt x="2021" y="1551"/>
                  </a:lnTo>
                  <a:lnTo>
                    <a:pt x="1966" y="1579"/>
                  </a:lnTo>
                  <a:lnTo>
                    <a:pt x="1966" y="1860"/>
                  </a:lnTo>
                  <a:lnTo>
                    <a:pt x="2021" y="1860"/>
                  </a:lnTo>
                  <a:lnTo>
                    <a:pt x="2021" y="1844"/>
                  </a:lnTo>
                  <a:lnTo>
                    <a:pt x="2021" y="1844"/>
                  </a:lnTo>
                  <a:lnTo>
                    <a:pt x="2025" y="1849"/>
                  </a:lnTo>
                  <a:lnTo>
                    <a:pt x="2032" y="1854"/>
                  </a:lnTo>
                  <a:lnTo>
                    <a:pt x="2037" y="1857"/>
                  </a:lnTo>
                  <a:lnTo>
                    <a:pt x="2044" y="1860"/>
                  </a:lnTo>
                  <a:lnTo>
                    <a:pt x="2049" y="1862"/>
                  </a:lnTo>
                  <a:lnTo>
                    <a:pt x="2057" y="1864"/>
                  </a:lnTo>
                  <a:lnTo>
                    <a:pt x="2064" y="1865"/>
                  </a:lnTo>
                  <a:lnTo>
                    <a:pt x="2070" y="1866"/>
                  </a:lnTo>
                  <a:lnTo>
                    <a:pt x="2070" y="1866"/>
                  </a:lnTo>
                  <a:lnTo>
                    <a:pt x="2080" y="1865"/>
                  </a:lnTo>
                  <a:lnTo>
                    <a:pt x="2090" y="1864"/>
                  </a:lnTo>
                  <a:lnTo>
                    <a:pt x="2099" y="1861"/>
                  </a:lnTo>
                  <a:lnTo>
                    <a:pt x="2108" y="1857"/>
                  </a:lnTo>
                  <a:lnTo>
                    <a:pt x="2116" y="1853"/>
                  </a:lnTo>
                  <a:lnTo>
                    <a:pt x="2122" y="1848"/>
                  </a:lnTo>
                  <a:lnTo>
                    <a:pt x="2129" y="1841"/>
                  </a:lnTo>
                  <a:lnTo>
                    <a:pt x="2134" y="1835"/>
                  </a:lnTo>
                  <a:lnTo>
                    <a:pt x="2140" y="1826"/>
                  </a:lnTo>
                  <a:lnTo>
                    <a:pt x="2144" y="1817"/>
                  </a:lnTo>
                  <a:lnTo>
                    <a:pt x="2148" y="1807"/>
                  </a:lnTo>
                  <a:lnTo>
                    <a:pt x="2151" y="1797"/>
                  </a:lnTo>
                  <a:lnTo>
                    <a:pt x="2154" y="1786"/>
                  </a:lnTo>
                  <a:lnTo>
                    <a:pt x="2155" y="1774"/>
                  </a:lnTo>
                  <a:lnTo>
                    <a:pt x="2157" y="1761"/>
                  </a:lnTo>
                  <a:lnTo>
                    <a:pt x="2158" y="1747"/>
                  </a:lnTo>
                  <a:lnTo>
                    <a:pt x="2158" y="1747"/>
                  </a:lnTo>
                  <a:lnTo>
                    <a:pt x="2157" y="1734"/>
                  </a:lnTo>
                  <a:lnTo>
                    <a:pt x="2155" y="1722"/>
                  </a:lnTo>
                  <a:lnTo>
                    <a:pt x="2153" y="1710"/>
                  </a:lnTo>
                  <a:lnTo>
                    <a:pt x="2151" y="1699"/>
                  </a:lnTo>
                  <a:lnTo>
                    <a:pt x="2148" y="1689"/>
                  </a:lnTo>
                  <a:lnTo>
                    <a:pt x="2143" y="1680"/>
                  </a:lnTo>
                  <a:lnTo>
                    <a:pt x="2139" y="1672"/>
                  </a:lnTo>
                  <a:lnTo>
                    <a:pt x="2133" y="1664"/>
                  </a:lnTo>
                  <a:lnTo>
                    <a:pt x="2128" y="1657"/>
                  </a:lnTo>
                  <a:lnTo>
                    <a:pt x="2121" y="1651"/>
                  </a:lnTo>
                  <a:lnTo>
                    <a:pt x="2113" y="1645"/>
                  </a:lnTo>
                  <a:lnTo>
                    <a:pt x="2106" y="1641"/>
                  </a:lnTo>
                  <a:lnTo>
                    <a:pt x="2098" y="1637"/>
                  </a:lnTo>
                  <a:lnTo>
                    <a:pt x="2089" y="1635"/>
                  </a:lnTo>
                  <a:lnTo>
                    <a:pt x="2079" y="1634"/>
                  </a:lnTo>
                  <a:lnTo>
                    <a:pt x="2069" y="1633"/>
                  </a:lnTo>
                  <a:lnTo>
                    <a:pt x="2069" y="1633"/>
                  </a:lnTo>
                  <a:close/>
                  <a:moveTo>
                    <a:pt x="2059" y="1684"/>
                  </a:moveTo>
                  <a:lnTo>
                    <a:pt x="2059" y="1684"/>
                  </a:lnTo>
                  <a:lnTo>
                    <a:pt x="2067" y="1685"/>
                  </a:lnTo>
                  <a:lnTo>
                    <a:pt x="2075" y="1687"/>
                  </a:lnTo>
                  <a:lnTo>
                    <a:pt x="2081" y="1691"/>
                  </a:lnTo>
                  <a:lnTo>
                    <a:pt x="2088" y="1698"/>
                  </a:lnTo>
                  <a:lnTo>
                    <a:pt x="2094" y="1706"/>
                  </a:lnTo>
                  <a:lnTo>
                    <a:pt x="2097" y="1717"/>
                  </a:lnTo>
                  <a:lnTo>
                    <a:pt x="2100" y="1730"/>
                  </a:lnTo>
                  <a:lnTo>
                    <a:pt x="2101" y="1746"/>
                  </a:lnTo>
                  <a:lnTo>
                    <a:pt x="2101" y="1746"/>
                  </a:lnTo>
                  <a:lnTo>
                    <a:pt x="2100" y="1762"/>
                  </a:lnTo>
                  <a:lnTo>
                    <a:pt x="2098" y="1776"/>
                  </a:lnTo>
                  <a:lnTo>
                    <a:pt x="2096" y="1787"/>
                  </a:lnTo>
                  <a:lnTo>
                    <a:pt x="2091" y="1797"/>
                  </a:lnTo>
                  <a:lnTo>
                    <a:pt x="2085" y="1805"/>
                  </a:lnTo>
                  <a:lnTo>
                    <a:pt x="2078" y="1811"/>
                  </a:lnTo>
                  <a:lnTo>
                    <a:pt x="2070" y="1814"/>
                  </a:lnTo>
                  <a:lnTo>
                    <a:pt x="2061" y="1815"/>
                  </a:lnTo>
                  <a:lnTo>
                    <a:pt x="2061" y="1815"/>
                  </a:lnTo>
                  <a:lnTo>
                    <a:pt x="2053" y="1814"/>
                  </a:lnTo>
                  <a:lnTo>
                    <a:pt x="2046" y="1813"/>
                  </a:lnTo>
                  <a:lnTo>
                    <a:pt x="2041" y="1810"/>
                  </a:lnTo>
                  <a:lnTo>
                    <a:pt x="2035" y="1807"/>
                  </a:lnTo>
                  <a:lnTo>
                    <a:pt x="2026" y="1800"/>
                  </a:lnTo>
                  <a:lnTo>
                    <a:pt x="2021" y="1794"/>
                  </a:lnTo>
                  <a:lnTo>
                    <a:pt x="2021" y="1706"/>
                  </a:lnTo>
                  <a:lnTo>
                    <a:pt x="2021" y="1706"/>
                  </a:lnTo>
                  <a:lnTo>
                    <a:pt x="2024" y="1701"/>
                  </a:lnTo>
                  <a:lnTo>
                    <a:pt x="2029" y="1697"/>
                  </a:lnTo>
                  <a:lnTo>
                    <a:pt x="2033" y="1693"/>
                  </a:lnTo>
                  <a:lnTo>
                    <a:pt x="2037" y="1689"/>
                  </a:lnTo>
                  <a:lnTo>
                    <a:pt x="2043" y="1687"/>
                  </a:lnTo>
                  <a:lnTo>
                    <a:pt x="2048" y="1685"/>
                  </a:lnTo>
                  <a:lnTo>
                    <a:pt x="2054" y="1684"/>
                  </a:lnTo>
                  <a:lnTo>
                    <a:pt x="2059" y="1684"/>
                  </a:lnTo>
                  <a:lnTo>
                    <a:pt x="2059" y="1684"/>
                  </a:lnTo>
                  <a:close/>
                  <a:moveTo>
                    <a:pt x="1445" y="1654"/>
                  </a:moveTo>
                  <a:lnTo>
                    <a:pt x="1445" y="1654"/>
                  </a:lnTo>
                  <a:lnTo>
                    <a:pt x="1440" y="1650"/>
                  </a:lnTo>
                  <a:lnTo>
                    <a:pt x="1435" y="1645"/>
                  </a:lnTo>
                  <a:lnTo>
                    <a:pt x="1428" y="1642"/>
                  </a:lnTo>
                  <a:lnTo>
                    <a:pt x="1423" y="1639"/>
                  </a:lnTo>
                  <a:lnTo>
                    <a:pt x="1416" y="1636"/>
                  </a:lnTo>
                  <a:lnTo>
                    <a:pt x="1409" y="1634"/>
                  </a:lnTo>
                  <a:lnTo>
                    <a:pt x="1403" y="1634"/>
                  </a:lnTo>
                  <a:lnTo>
                    <a:pt x="1396" y="1633"/>
                  </a:lnTo>
                  <a:lnTo>
                    <a:pt x="1396" y="1633"/>
                  </a:lnTo>
                  <a:lnTo>
                    <a:pt x="1386" y="1634"/>
                  </a:lnTo>
                  <a:lnTo>
                    <a:pt x="1376" y="1635"/>
                  </a:lnTo>
                  <a:lnTo>
                    <a:pt x="1367" y="1637"/>
                  </a:lnTo>
                  <a:lnTo>
                    <a:pt x="1360" y="1641"/>
                  </a:lnTo>
                  <a:lnTo>
                    <a:pt x="1352" y="1645"/>
                  </a:lnTo>
                  <a:lnTo>
                    <a:pt x="1344" y="1651"/>
                  </a:lnTo>
                  <a:lnTo>
                    <a:pt x="1338" y="1657"/>
                  </a:lnTo>
                  <a:lnTo>
                    <a:pt x="1332" y="1664"/>
                  </a:lnTo>
                  <a:lnTo>
                    <a:pt x="1327" y="1672"/>
                  </a:lnTo>
                  <a:lnTo>
                    <a:pt x="1322" y="1680"/>
                  </a:lnTo>
                  <a:lnTo>
                    <a:pt x="1318" y="1689"/>
                  </a:lnTo>
                  <a:lnTo>
                    <a:pt x="1314" y="1699"/>
                  </a:lnTo>
                  <a:lnTo>
                    <a:pt x="1312" y="1710"/>
                  </a:lnTo>
                  <a:lnTo>
                    <a:pt x="1310" y="1722"/>
                  </a:lnTo>
                  <a:lnTo>
                    <a:pt x="1309" y="1734"/>
                  </a:lnTo>
                  <a:lnTo>
                    <a:pt x="1309" y="1747"/>
                  </a:lnTo>
                  <a:lnTo>
                    <a:pt x="1309" y="1747"/>
                  </a:lnTo>
                  <a:lnTo>
                    <a:pt x="1309" y="1761"/>
                  </a:lnTo>
                  <a:lnTo>
                    <a:pt x="1310" y="1773"/>
                  </a:lnTo>
                  <a:lnTo>
                    <a:pt x="1312" y="1785"/>
                  </a:lnTo>
                  <a:lnTo>
                    <a:pt x="1314" y="1796"/>
                  </a:lnTo>
                  <a:lnTo>
                    <a:pt x="1318" y="1807"/>
                  </a:lnTo>
                  <a:lnTo>
                    <a:pt x="1321" y="1817"/>
                  </a:lnTo>
                  <a:lnTo>
                    <a:pt x="1327" y="1826"/>
                  </a:lnTo>
                  <a:lnTo>
                    <a:pt x="1331" y="1834"/>
                  </a:lnTo>
                  <a:lnTo>
                    <a:pt x="1338" y="1841"/>
                  </a:lnTo>
                  <a:lnTo>
                    <a:pt x="1343" y="1847"/>
                  </a:lnTo>
                  <a:lnTo>
                    <a:pt x="1351" y="1853"/>
                  </a:lnTo>
                  <a:lnTo>
                    <a:pt x="1359" y="1857"/>
                  </a:lnTo>
                  <a:lnTo>
                    <a:pt x="1366" y="1860"/>
                  </a:lnTo>
                  <a:lnTo>
                    <a:pt x="1375" y="1864"/>
                  </a:lnTo>
                  <a:lnTo>
                    <a:pt x="1385" y="1865"/>
                  </a:lnTo>
                  <a:lnTo>
                    <a:pt x="1395" y="1865"/>
                  </a:lnTo>
                  <a:lnTo>
                    <a:pt x="1395" y="1865"/>
                  </a:lnTo>
                  <a:lnTo>
                    <a:pt x="1402" y="1865"/>
                  </a:lnTo>
                  <a:lnTo>
                    <a:pt x="1408" y="1864"/>
                  </a:lnTo>
                  <a:lnTo>
                    <a:pt x="1415" y="1862"/>
                  </a:lnTo>
                  <a:lnTo>
                    <a:pt x="1421" y="1860"/>
                  </a:lnTo>
                  <a:lnTo>
                    <a:pt x="1428" y="1857"/>
                  </a:lnTo>
                  <a:lnTo>
                    <a:pt x="1434" y="1853"/>
                  </a:lnTo>
                  <a:lnTo>
                    <a:pt x="1439" y="1849"/>
                  </a:lnTo>
                  <a:lnTo>
                    <a:pt x="1445" y="1844"/>
                  </a:lnTo>
                  <a:lnTo>
                    <a:pt x="1445" y="1849"/>
                  </a:lnTo>
                  <a:lnTo>
                    <a:pt x="1445" y="1849"/>
                  </a:lnTo>
                  <a:lnTo>
                    <a:pt x="1445" y="1858"/>
                  </a:lnTo>
                  <a:lnTo>
                    <a:pt x="1444" y="1868"/>
                  </a:lnTo>
                  <a:lnTo>
                    <a:pt x="1441" y="1878"/>
                  </a:lnTo>
                  <a:lnTo>
                    <a:pt x="1439" y="1882"/>
                  </a:lnTo>
                  <a:lnTo>
                    <a:pt x="1436" y="1887"/>
                  </a:lnTo>
                  <a:lnTo>
                    <a:pt x="1433" y="1891"/>
                  </a:lnTo>
                  <a:lnTo>
                    <a:pt x="1428" y="1896"/>
                  </a:lnTo>
                  <a:lnTo>
                    <a:pt x="1421" y="1899"/>
                  </a:lnTo>
                  <a:lnTo>
                    <a:pt x="1415" y="1901"/>
                  </a:lnTo>
                  <a:lnTo>
                    <a:pt x="1407" y="1904"/>
                  </a:lnTo>
                  <a:lnTo>
                    <a:pt x="1397" y="1905"/>
                  </a:lnTo>
                  <a:lnTo>
                    <a:pt x="1386" y="1908"/>
                  </a:lnTo>
                  <a:lnTo>
                    <a:pt x="1374" y="1908"/>
                  </a:lnTo>
                  <a:lnTo>
                    <a:pt x="1372" y="1908"/>
                  </a:lnTo>
                  <a:lnTo>
                    <a:pt x="1391" y="1951"/>
                  </a:lnTo>
                  <a:lnTo>
                    <a:pt x="1392" y="1951"/>
                  </a:lnTo>
                  <a:lnTo>
                    <a:pt x="1392" y="1951"/>
                  </a:lnTo>
                  <a:lnTo>
                    <a:pt x="1405" y="1951"/>
                  </a:lnTo>
                  <a:lnTo>
                    <a:pt x="1417" y="1948"/>
                  </a:lnTo>
                  <a:lnTo>
                    <a:pt x="1429" y="1946"/>
                  </a:lnTo>
                  <a:lnTo>
                    <a:pt x="1439" y="1943"/>
                  </a:lnTo>
                  <a:lnTo>
                    <a:pt x="1449" y="1940"/>
                  </a:lnTo>
                  <a:lnTo>
                    <a:pt x="1458" y="1935"/>
                  </a:lnTo>
                  <a:lnTo>
                    <a:pt x="1466" y="1929"/>
                  </a:lnTo>
                  <a:lnTo>
                    <a:pt x="1473" y="1923"/>
                  </a:lnTo>
                  <a:lnTo>
                    <a:pt x="1480" y="1915"/>
                  </a:lnTo>
                  <a:lnTo>
                    <a:pt x="1484" y="1907"/>
                  </a:lnTo>
                  <a:lnTo>
                    <a:pt x="1490" y="1898"/>
                  </a:lnTo>
                  <a:lnTo>
                    <a:pt x="1493" y="1888"/>
                  </a:lnTo>
                  <a:lnTo>
                    <a:pt x="1497" y="1877"/>
                  </a:lnTo>
                  <a:lnTo>
                    <a:pt x="1499" y="1866"/>
                  </a:lnTo>
                  <a:lnTo>
                    <a:pt x="1500" y="1854"/>
                  </a:lnTo>
                  <a:lnTo>
                    <a:pt x="1500" y="1839"/>
                  </a:lnTo>
                  <a:lnTo>
                    <a:pt x="1500" y="1639"/>
                  </a:lnTo>
                  <a:lnTo>
                    <a:pt x="1445" y="1639"/>
                  </a:lnTo>
                  <a:lnTo>
                    <a:pt x="1445" y="1654"/>
                  </a:lnTo>
                  <a:close/>
                  <a:moveTo>
                    <a:pt x="1445" y="1706"/>
                  </a:moveTo>
                  <a:lnTo>
                    <a:pt x="1445" y="1793"/>
                  </a:lnTo>
                  <a:lnTo>
                    <a:pt x="1445" y="1793"/>
                  </a:lnTo>
                  <a:lnTo>
                    <a:pt x="1438" y="1801"/>
                  </a:lnTo>
                  <a:lnTo>
                    <a:pt x="1429" y="1808"/>
                  </a:lnTo>
                  <a:lnTo>
                    <a:pt x="1425" y="1811"/>
                  </a:lnTo>
                  <a:lnTo>
                    <a:pt x="1419" y="1813"/>
                  </a:lnTo>
                  <a:lnTo>
                    <a:pt x="1413" y="1814"/>
                  </a:lnTo>
                  <a:lnTo>
                    <a:pt x="1406" y="1815"/>
                  </a:lnTo>
                  <a:lnTo>
                    <a:pt x="1406" y="1815"/>
                  </a:lnTo>
                  <a:lnTo>
                    <a:pt x="1398" y="1814"/>
                  </a:lnTo>
                  <a:lnTo>
                    <a:pt x="1392" y="1812"/>
                  </a:lnTo>
                  <a:lnTo>
                    <a:pt x="1384" y="1807"/>
                  </a:lnTo>
                  <a:lnTo>
                    <a:pt x="1378" y="1802"/>
                  </a:lnTo>
                  <a:lnTo>
                    <a:pt x="1373" y="1793"/>
                  </a:lnTo>
                  <a:lnTo>
                    <a:pt x="1369" y="1781"/>
                  </a:lnTo>
                  <a:lnTo>
                    <a:pt x="1365" y="1765"/>
                  </a:lnTo>
                  <a:lnTo>
                    <a:pt x="1364" y="1746"/>
                  </a:lnTo>
                  <a:lnTo>
                    <a:pt x="1364" y="1746"/>
                  </a:lnTo>
                  <a:lnTo>
                    <a:pt x="1365" y="1728"/>
                  </a:lnTo>
                  <a:lnTo>
                    <a:pt x="1369" y="1715"/>
                  </a:lnTo>
                  <a:lnTo>
                    <a:pt x="1373" y="1704"/>
                  </a:lnTo>
                  <a:lnTo>
                    <a:pt x="1378" y="1696"/>
                  </a:lnTo>
                  <a:lnTo>
                    <a:pt x="1384" y="1689"/>
                  </a:lnTo>
                  <a:lnTo>
                    <a:pt x="1392" y="1686"/>
                  </a:lnTo>
                  <a:lnTo>
                    <a:pt x="1398" y="1684"/>
                  </a:lnTo>
                  <a:lnTo>
                    <a:pt x="1406" y="1684"/>
                  </a:lnTo>
                  <a:lnTo>
                    <a:pt x="1406" y="1684"/>
                  </a:lnTo>
                  <a:lnTo>
                    <a:pt x="1413" y="1684"/>
                  </a:lnTo>
                  <a:lnTo>
                    <a:pt x="1419" y="1686"/>
                  </a:lnTo>
                  <a:lnTo>
                    <a:pt x="1426" y="1688"/>
                  </a:lnTo>
                  <a:lnTo>
                    <a:pt x="1430" y="1690"/>
                  </a:lnTo>
                  <a:lnTo>
                    <a:pt x="1435" y="1695"/>
                  </a:lnTo>
                  <a:lnTo>
                    <a:pt x="1439" y="1698"/>
                  </a:lnTo>
                  <a:lnTo>
                    <a:pt x="1445" y="1706"/>
                  </a:lnTo>
                  <a:lnTo>
                    <a:pt x="1445" y="1706"/>
                  </a:lnTo>
                  <a:close/>
                  <a:moveTo>
                    <a:pt x="1671" y="1693"/>
                  </a:moveTo>
                  <a:lnTo>
                    <a:pt x="1671" y="1693"/>
                  </a:lnTo>
                  <a:lnTo>
                    <a:pt x="1684" y="1686"/>
                  </a:lnTo>
                  <a:lnTo>
                    <a:pt x="1697" y="1682"/>
                  </a:lnTo>
                  <a:lnTo>
                    <a:pt x="1712" y="1678"/>
                  </a:lnTo>
                  <a:lnTo>
                    <a:pt x="1727" y="1677"/>
                  </a:lnTo>
                  <a:lnTo>
                    <a:pt x="1727" y="1677"/>
                  </a:lnTo>
                  <a:lnTo>
                    <a:pt x="1737" y="1678"/>
                  </a:lnTo>
                  <a:lnTo>
                    <a:pt x="1745" y="1679"/>
                  </a:lnTo>
                  <a:lnTo>
                    <a:pt x="1751" y="1682"/>
                  </a:lnTo>
                  <a:lnTo>
                    <a:pt x="1757" y="1686"/>
                  </a:lnTo>
                  <a:lnTo>
                    <a:pt x="1761" y="1690"/>
                  </a:lnTo>
                  <a:lnTo>
                    <a:pt x="1765" y="1696"/>
                  </a:lnTo>
                  <a:lnTo>
                    <a:pt x="1767" y="1701"/>
                  </a:lnTo>
                  <a:lnTo>
                    <a:pt x="1767" y="1709"/>
                  </a:lnTo>
                  <a:lnTo>
                    <a:pt x="1767" y="1725"/>
                  </a:lnTo>
                  <a:lnTo>
                    <a:pt x="1767" y="1725"/>
                  </a:lnTo>
                  <a:lnTo>
                    <a:pt x="1757" y="1720"/>
                  </a:lnTo>
                  <a:lnTo>
                    <a:pt x="1745" y="1717"/>
                  </a:lnTo>
                  <a:lnTo>
                    <a:pt x="1733" y="1715"/>
                  </a:lnTo>
                  <a:lnTo>
                    <a:pt x="1719" y="1714"/>
                  </a:lnTo>
                  <a:lnTo>
                    <a:pt x="1719" y="1714"/>
                  </a:lnTo>
                  <a:lnTo>
                    <a:pt x="1704" y="1715"/>
                  </a:lnTo>
                  <a:lnTo>
                    <a:pt x="1689" y="1718"/>
                  </a:lnTo>
                  <a:lnTo>
                    <a:pt x="1674" y="1722"/>
                  </a:lnTo>
                  <a:lnTo>
                    <a:pt x="1667" y="1726"/>
                  </a:lnTo>
                  <a:lnTo>
                    <a:pt x="1660" y="1730"/>
                  </a:lnTo>
                  <a:lnTo>
                    <a:pt x="1654" y="1734"/>
                  </a:lnTo>
                  <a:lnTo>
                    <a:pt x="1649" y="1740"/>
                  </a:lnTo>
                  <a:lnTo>
                    <a:pt x="1643" y="1746"/>
                  </a:lnTo>
                  <a:lnTo>
                    <a:pt x="1639" y="1752"/>
                  </a:lnTo>
                  <a:lnTo>
                    <a:pt x="1636" y="1760"/>
                  </a:lnTo>
                  <a:lnTo>
                    <a:pt x="1633" y="1769"/>
                  </a:lnTo>
                  <a:lnTo>
                    <a:pt x="1632" y="1778"/>
                  </a:lnTo>
                  <a:lnTo>
                    <a:pt x="1631" y="1786"/>
                  </a:lnTo>
                  <a:lnTo>
                    <a:pt x="1631" y="1786"/>
                  </a:lnTo>
                  <a:lnTo>
                    <a:pt x="1632" y="1797"/>
                  </a:lnTo>
                  <a:lnTo>
                    <a:pt x="1633" y="1807"/>
                  </a:lnTo>
                  <a:lnTo>
                    <a:pt x="1636" y="1815"/>
                  </a:lnTo>
                  <a:lnTo>
                    <a:pt x="1639" y="1824"/>
                  </a:lnTo>
                  <a:lnTo>
                    <a:pt x="1642" y="1830"/>
                  </a:lnTo>
                  <a:lnTo>
                    <a:pt x="1648" y="1837"/>
                  </a:lnTo>
                  <a:lnTo>
                    <a:pt x="1652" y="1843"/>
                  </a:lnTo>
                  <a:lnTo>
                    <a:pt x="1659" y="1848"/>
                  </a:lnTo>
                  <a:lnTo>
                    <a:pt x="1664" y="1853"/>
                  </a:lnTo>
                  <a:lnTo>
                    <a:pt x="1671" y="1856"/>
                  </a:lnTo>
                  <a:lnTo>
                    <a:pt x="1685" y="1861"/>
                  </a:lnTo>
                  <a:lnTo>
                    <a:pt x="1700" y="1865"/>
                  </a:lnTo>
                  <a:lnTo>
                    <a:pt x="1714" y="1866"/>
                  </a:lnTo>
                  <a:lnTo>
                    <a:pt x="1714" y="1866"/>
                  </a:lnTo>
                  <a:lnTo>
                    <a:pt x="1726" y="1864"/>
                  </a:lnTo>
                  <a:lnTo>
                    <a:pt x="1734" y="1862"/>
                  </a:lnTo>
                  <a:lnTo>
                    <a:pt x="1740" y="1860"/>
                  </a:lnTo>
                  <a:lnTo>
                    <a:pt x="1748" y="1857"/>
                  </a:lnTo>
                  <a:lnTo>
                    <a:pt x="1755" y="1853"/>
                  </a:lnTo>
                  <a:lnTo>
                    <a:pt x="1761" y="1848"/>
                  </a:lnTo>
                  <a:lnTo>
                    <a:pt x="1767" y="1843"/>
                  </a:lnTo>
                  <a:lnTo>
                    <a:pt x="1767" y="1860"/>
                  </a:lnTo>
                  <a:lnTo>
                    <a:pt x="1822" y="1860"/>
                  </a:lnTo>
                  <a:lnTo>
                    <a:pt x="1822" y="1710"/>
                  </a:lnTo>
                  <a:lnTo>
                    <a:pt x="1822" y="1710"/>
                  </a:lnTo>
                  <a:lnTo>
                    <a:pt x="1822" y="1701"/>
                  </a:lnTo>
                  <a:lnTo>
                    <a:pt x="1821" y="1694"/>
                  </a:lnTo>
                  <a:lnTo>
                    <a:pt x="1819" y="1686"/>
                  </a:lnTo>
                  <a:lnTo>
                    <a:pt x="1817" y="1678"/>
                  </a:lnTo>
                  <a:lnTo>
                    <a:pt x="1812" y="1672"/>
                  </a:lnTo>
                  <a:lnTo>
                    <a:pt x="1809" y="1665"/>
                  </a:lnTo>
                  <a:lnTo>
                    <a:pt x="1803" y="1659"/>
                  </a:lnTo>
                  <a:lnTo>
                    <a:pt x="1798" y="1654"/>
                  </a:lnTo>
                  <a:lnTo>
                    <a:pt x="1792" y="1650"/>
                  </a:lnTo>
                  <a:lnTo>
                    <a:pt x="1786" y="1645"/>
                  </a:lnTo>
                  <a:lnTo>
                    <a:pt x="1778" y="1642"/>
                  </a:lnTo>
                  <a:lnTo>
                    <a:pt x="1770" y="1639"/>
                  </a:lnTo>
                  <a:lnTo>
                    <a:pt x="1761" y="1636"/>
                  </a:lnTo>
                  <a:lnTo>
                    <a:pt x="1753" y="1635"/>
                  </a:lnTo>
                  <a:lnTo>
                    <a:pt x="1743" y="1634"/>
                  </a:lnTo>
                  <a:lnTo>
                    <a:pt x="1733" y="1633"/>
                  </a:lnTo>
                  <a:lnTo>
                    <a:pt x="1733" y="1633"/>
                  </a:lnTo>
                  <a:lnTo>
                    <a:pt x="1721" y="1634"/>
                  </a:lnTo>
                  <a:lnTo>
                    <a:pt x="1711" y="1634"/>
                  </a:lnTo>
                  <a:lnTo>
                    <a:pt x="1700" y="1636"/>
                  </a:lnTo>
                  <a:lnTo>
                    <a:pt x="1689" y="1639"/>
                  </a:lnTo>
                  <a:lnTo>
                    <a:pt x="1679" y="1642"/>
                  </a:lnTo>
                  <a:lnTo>
                    <a:pt x="1669" y="1645"/>
                  </a:lnTo>
                  <a:lnTo>
                    <a:pt x="1659" y="1650"/>
                  </a:lnTo>
                  <a:lnTo>
                    <a:pt x="1649" y="1655"/>
                  </a:lnTo>
                  <a:lnTo>
                    <a:pt x="1671" y="1693"/>
                  </a:lnTo>
                  <a:close/>
                  <a:moveTo>
                    <a:pt x="1686" y="1786"/>
                  </a:moveTo>
                  <a:lnTo>
                    <a:pt x="1686" y="1786"/>
                  </a:lnTo>
                  <a:lnTo>
                    <a:pt x="1686" y="1780"/>
                  </a:lnTo>
                  <a:lnTo>
                    <a:pt x="1689" y="1773"/>
                  </a:lnTo>
                  <a:lnTo>
                    <a:pt x="1692" y="1768"/>
                  </a:lnTo>
                  <a:lnTo>
                    <a:pt x="1696" y="1763"/>
                  </a:lnTo>
                  <a:lnTo>
                    <a:pt x="1702" y="1760"/>
                  </a:lnTo>
                  <a:lnTo>
                    <a:pt x="1708" y="1758"/>
                  </a:lnTo>
                  <a:lnTo>
                    <a:pt x="1716" y="1755"/>
                  </a:lnTo>
                  <a:lnTo>
                    <a:pt x="1724" y="1755"/>
                  </a:lnTo>
                  <a:lnTo>
                    <a:pt x="1724" y="1755"/>
                  </a:lnTo>
                  <a:lnTo>
                    <a:pt x="1736" y="1755"/>
                  </a:lnTo>
                  <a:lnTo>
                    <a:pt x="1747" y="1758"/>
                  </a:lnTo>
                  <a:lnTo>
                    <a:pt x="1757" y="1761"/>
                  </a:lnTo>
                  <a:lnTo>
                    <a:pt x="1767" y="1766"/>
                  </a:lnTo>
                  <a:lnTo>
                    <a:pt x="1767" y="1796"/>
                  </a:lnTo>
                  <a:lnTo>
                    <a:pt x="1767" y="1796"/>
                  </a:lnTo>
                  <a:lnTo>
                    <a:pt x="1765" y="1801"/>
                  </a:lnTo>
                  <a:lnTo>
                    <a:pt x="1760" y="1805"/>
                  </a:lnTo>
                  <a:lnTo>
                    <a:pt x="1756" y="1810"/>
                  </a:lnTo>
                  <a:lnTo>
                    <a:pt x="1750" y="1813"/>
                  </a:lnTo>
                  <a:lnTo>
                    <a:pt x="1745" y="1816"/>
                  </a:lnTo>
                  <a:lnTo>
                    <a:pt x="1738" y="1818"/>
                  </a:lnTo>
                  <a:lnTo>
                    <a:pt x="1732" y="1819"/>
                  </a:lnTo>
                  <a:lnTo>
                    <a:pt x="1724" y="1821"/>
                  </a:lnTo>
                  <a:lnTo>
                    <a:pt x="1724" y="1821"/>
                  </a:lnTo>
                  <a:lnTo>
                    <a:pt x="1716" y="1819"/>
                  </a:lnTo>
                  <a:lnTo>
                    <a:pt x="1708" y="1817"/>
                  </a:lnTo>
                  <a:lnTo>
                    <a:pt x="1702" y="1815"/>
                  </a:lnTo>
                  <a:lnTo>
                    <a:pt x="1696" y="1811"/>
                  </a:lnTo>
                  <a:lnTo>
                    <a:pt x="1692" y="1806"/>
                  </a:lnTo>
                  <a:lnTo>
                    <a:pt x="1689" y="1801"/>
                  </a:lnTo>
                  <a:lnTo>
                    <a:pt x="1687" y="1794"/>
                  </a:lnTo>
                  <a:lnTo>
                    <a:pt x="1686" y="1786"/>
                  </a:lnTo>
                  <a:lnTo>
                    <a:pt x="1686" y="1786"/>
                  </a:lnTo>
                  <a:close/>
                  <a:moveTo>
                    <a:pt x="2333" y="1796"/>
                  </a:moveTo>
                  <a:lnTo>
                    <a:pt x="2333" y="1796"/>
                  </a:lnTo>
                  <a:lnTo>
                    <a:pt x="2325" y="1803"/>
                  </a:lnTo>
                  <a:lnTo>
                    <a:pt x="2315" y="1808"/>
                  </a:lnTo>
                  <a:lnTo>
                    <a:pt x="2310" y="1811"/>
                  </a:lnTo>
                  <a:lnTo>
                    <a:pt x="2303" y="1813"/>
                  </a:lnTo>
                  <a:lnTo>
                    <a:pt x="2297" y="1814"/>
                  </a:lnTo>
                  <a:lnTo>
                    <a:pt x="2290" y="1815"/>
                  </a:lnTo>
                  <a:lnTo>
                    <a:pt x="2290" y="1815"/>
                  </a:lnTo>
                  <a:lnTo>
                    <a:pt x="2285" y="1814"/>
                  </a:lnTo>
                  <a:lnTo>
                    <a:pt x="2278" y="1814"/>
                  </a:lnTo>
                  <a:lnTo>
                    <a:pt x="2270" y="1812"/>
                  </a:lnTo>
                  <a:lnTo>
                    <a:pt x="2261" y="1807"/>
                  </a:lnTo>
                  <a:lnTo>
                    <a:pt x="2254" y="1802"/>
                  </a:lnTo>
                  <a:lnTo>
                    <a:pt x="2250" y="1797"/>
                  </a:lnTo>
                  <a:lnTo>
                    <a:pt x="2247" y="1793"/>
                  </a:lnTo>
                  <a:lnTo>
                    <a:pt x="2245" y="1787"/>
                  </a:lnTo>
                  <a:lnTo>
                    <a:pt x="2243" y="1781"/>
                  </a:lnTo>
                  <a:lnTo>
                    <a:pt x="2242" y="1774"/>
                  </a:lnTo>
                  <a:lnTo>
                    <a:pt x="2240" y="1766"/>
                  </a:lnTo>
                  <a:lnTo>
                    <a:pt x="2376" y="1766"/>
                  </a:lnTo>
                  <a:lnTo>
                    <a:pt x="2376" y="1766"/>
                  </a:lnTo>
                  <a:lnTo>
                    <a:pt x="2377" y="1750"/>
                  </a:lnTo>
                  <a:lnTo>
                    <a:pt x="2377" y="1750"/>
                  </a:lnTo>
                  <a:lnTo>
                    <a:pt x="2377" y="1737"/>
                  </a:lnTo>
                  <a:lnTo>
                    <a:pt x="2375" y="1725"/>
                  </a:lnTo>
                  <a:lnTo>
                    <a:pt x="2374" y="1712"/>
                  </a:lnTo>
                  <a:lnTo>
                    <a:pt x="2371" y="1701"/>
                  </a:lnTo>
                  <a:lnTo>
                    <a:pt x="2367" y="1691"/>
                  </a:lnTo>
                  <a:lnTo>
                    <a:pt x="2363" y="1682"/>
                  </a:lnTo>
                  <a:lnTo>
                    <a:pt x="2357" y="1673"/>
                  </a:lnTo>
                  <a:lnTo>
                    <a:pt x="2352" y="1665"/>
                  </a:lnTo>
                  <a:lnTo>
                    <a:pt x="2345" y="1657"/>
                  </a:lnTo>
                  <a:lnTo>
                    <a:pt x="2339" y="1652"/>
                  </a:lnTo>
                  <a:lnTo>
                    <a:pt x="2331" y="1646"/>
                  </a:lnTo>
                  <a:lnTo>
                    <a:pt x="2322" y="1642"/>
                  </a:lnTo>
                  <a:lnTo>
                    <a:pt x="2313" y="1639"/>
                  </a:lnTo>
                  <a:lnTo>
                    <a:pt x="2304" y="1635"/>
                  </a:lnTo>
                  <a:lnTo>
                    <a:pt x="2294" y="1634"/>
                  </a:lnTo>
                  <a:lnTo>
                    <a:pt x="2283" y="1633"/>
                  </a:lnTo>
                  <a:lnTo>
                    <a:pt x="2283" y="1633"/>
                  </a:lnTo>
                  <a:lnTo>
                    <a:pt x="2274" y="1634"/>
                  </a:lnTo>
                  <a:lnTo>
                    <a:pt x="2264" y="1635"/>
                  </a:lnTo>
                  <a:lnTo>
                    <a:pt x="2254" y="1639"/>
                  </a:lnTo>
                  <a:lnTo>
                    <a:pt x="2244" y="1642"/>
                  </a:lnTo>
                  <a:lnTo>
                    <a:pt x="2235" y="1646"/>
                  </a:lnTo>
                  <a:lnTo>
                    <a:pt x="2227" y="1653"/>
                  </a:lnTo>
                  <a:lnTo>
                    <a:pt x="2219" y="1658"/>
                  </a:lnTo>
                  <a:lnTo>
                    <a:pt x="2213" y="1666"/>
                  </a:lnTo>
                  <a:lnTo>
                    <a:pt x="2206" y="1674"/>
                  </a:lnTo>
                  <a:lnTo>
                    <a:pt x="2201" y="1683"/>
                  </a:lnTo>
                  <a:lnTo>
                    <a:pt x="2196" y="1693"/>
                  </a:lnTo>
                  <a:lnTo>
                    <a:pt x="2192" y="1703"/>
                  </a:lnTo>
                  <a:lnTo>
                    <a:pt x="2189" y="1714"/>
                  </a:lnTo>
                  <a:lnTo>
                    <a:pt x="2186" y="1726"/>
                  </a:lnTo>
                  <a:lnTo>
                    <a:pt x="2185" y="1737"/>
                  </a:lnTo>
                  <a:lnTo>
                    <a:pt x="2184" y="1750"/>
                  </a:lnTo>
                  <a:lnTo>
                    <a:pt x="2184" y="1750"/>
                  </a:lnTo>
                  <a:lnTo>
                    <a:pt x="2185" y="1762"/>
                  </a:lnTo>
                  <a:lnTo>
                    <a:pt x="2186" y="1774"/>
                  </a:lnTo>
                  <a:lnTo>
                    <a:pt x="2189" y="1786"/>
                  </a:lnTo>
                  <a:lnTo>
                    <a:pt x="2192" y="1797"/>
                  </a:lnTo>
                  <a:lnTo>
                    <a:pt x="2196" y="1807"/>
                  </a:lnTo>
                  <a:lnTo>
                    <a:pt x="2201" y="1817"/>
                  </a:lnTo>
                  <a:lnTo>
                    <a:pt x="2206" y="1826"/>
                  </a:lnTo>
                  <a:lnTo>
                    <a:pt x="2213" y="1834"/>
                  </a:lnTo>
                  <a:lnTo>
                    <a:pt x="2221" y="1840"/>
                  </a:lnTo>
                  <a:lnTo>
                    <a:pt x="2228" y="1847"/>
                  </a:lnTo>
                  <a:lnTo>
                    <a:pt x="2237" y="1853"/>
                  </a:lnTo>
                  <a:lnTo>
                    <a:pt x="2246" y="1857"/>
                  </a:lnTo>
                  <a:lnTo>
                    <a:pt x="2256" y="1860"/>
                  </a:lnTo>
                  <a:lnTo>
                    <a:pt x="2267" y="1864"/>
                  </a:lnTo>
                  <a:lnTo>
                    <a:pt x="2278" y="1865"/>
                  </a:lnTo>
                  <a:lnTo>
                    <a:pt x="2290" y="1866"/>
                  </a:lnTo>
                  <a:lnTo>
                    <a:pt x="2290" y="1866"/>
                  </a:lnTo>
                  <a:lnTo>
                    <a:pt x="2301" y="1865"/>
                  </a:lnTo>
                  <a:lnTo>
                    <a:pt x="2311" y="1864"/>
                  </a:lnTo>
                  <a:lnTo>
                    <a:pt x="2322" y="1860"/>
                  </a:lnTo>
                  <a:lnTo>
                    <a:pt x="2332" y="1857"/>
                  </a:lnTo>
                  <a:lnTo>
                    <a:pt x="2342" y="1851"/>
                  </a:lnTo>
                  <a:lnTo>
                    <a:pt x="2351" y="1846"/>
                  </a:lnTo>
                  <a:lnTo>
                    <a:pt x="2360" y="1838"/>
                  </a:lnTo>
                  <a:lnTo>
                    <a:pt x="2368" y="1830"/>
                  </a:lnTo>
                  <a:lnTo>
                    <a:pt x="2333" y="1796"/>
                  </a:lnTo>
                  <a:close/>
                  <a:moveTo>
                    <a:pt x="2242" y="1726"/>
                  </a:moveTo>
                  <a:lnTo>
                    <a:pt x="2242" y="1726"/>
                  </a:lnTo>
                  <a:lnTo>
                    <a:pt x="2243" y="1716"/>
                  </a:lnTo>
                  <a:lnTo>
                    <a:pt x="2245" y="1707"/>
                  </a:lnTo>
                  <a:lnTo>
                    <a:pt x="2248" y="1699"/>
                  </a:lnTo>
                  <a:lnTo>
                    <a:pt x="2254" y="1693"/>
                  </a:lnTo>
                  <a:lnTo>
                    <a:pt x="2259" y="1687"/>
                  </a:lnTo>
                  <a:lnTo>
                    <a:pt x="2266" y="1684"/>
                  </a:lnTo>
                  <a:lnTo>
                    <a:pt x="2274" y="1680"/>
                  </a:lnTo>
                  <a:lnTo>
                    <a:pt x="2282" y="1680"/>
                  </a:lnTo>
                  <a:lnTo>
                    <a:pt x="2282" y="1680"/>
                  </a:lnTo>
                  <a:lnTo>
                    <a:pt x="2292" y="1682"/>
                  </a:lnTo>
                  <a:lnTo>
                    <a:pt x="2301" y="1684"/>
                  </a:lnTo>
                  <a:lnTo>
                    <a:pt x="2308" y="1688"/>
                  </a:lnTo>
                  <a:lnTo>
                    <a:pt x="2313" y="1695"/>
                  </a:lnTo>
                  <a:lnTo>
                    <a:pt x="2318" y="1701"/>
                  </a:lnTo>
                  <a:lnTo>
                    <a:pt x="2321" y="1709"/>
                  </a:lnTo>
                  <a:lnTo>
                    <a:pt x="2323" y="1718"/>
                  </a:lnTo>
                  <a:lnTo>
                    <a:pt x="2324" y="1726"/>
                  </a:lnTo>
                  <a:lnTo>
                    <a:pt x="2242" y="1726"/>
                  </a:lnTo>
                  <a:close/>
                  <a:moveTo>
                    <a:pt x="2864" y="1796"/>
                  </a:moveTo>
                  <a:lnTo>
                    <a:pt x="2864" y="1796"/>
                  </a:lnTo>
                  <a:lnTo>
                    <a:pt x="2855" y="1803"/>
                  </a:lnTo>
                  <a:lnTo>
                    <a:pt x="2846" y="1808"/>
                  </a:lnTo>
                  <a:lnTo>
                    <a:pt x="2840" y="1811"/>
                  </a:lnTo>
                  <a:lnTo>
                    <a:pt x="2834" y="1813"/>
                  </a:lnTo>
                  <a:lnTo>
                    <a:pt x="2828" y="1814"/>
                  </a:lnTo>
                  <a:lnTo>
                    <a:pt x="2820" y="1815"/>
                  </a:lnTo>
                  <a:lnTo>
                    <a:pt x="2820" y="1815"/>
                  </a:lnTo>
                  <a:lnTo>
                    <a:pt x="2814" y="1814"/>
                  </a:lnTo>
                  <a:lnTo>
                    <a:pt x="2808" y="1814"/>
                  </a:lnTo>
                  <a:lnTo>
                    <a:pt x="2800" y="1812"/>
                  </a:lnTo>
                  <a:lnTo>
                    <a:pt x="2792" y="1807"/>
                  </a:lnTo>
                  <a:lnTo>
                    <a:pt x="2784" y="1802"/>
                  </a:lnTo>
                  <a:lnTo>
                    <a:pt x="2781" y="1797"/>
                  </a:lnTo>
                  <a:lnTo>
                    <a:pt x="2778" y="1793"/>
                  </a:lnTo>
                  <a:lnTo>
                    <a:pt x="2776" y="1787"/>
                  </a:lnTo>
                  <a:lnTo>
                    <a:pt x="2773" y="1781"/>
                  </a:lnTo>
                  <a:lnTo>
                    <a:pt x="2771" y="1774"/>
                  </a:lnTo>
                  <a:lnTo>
                    <a:pt x="2770" y="1766"/>
                  </a:lnTo>
                  <a:lnTo>
                    <a:pt x="2907" y="1766"/>
                  </a:lnTo>
                  <a:lnTo>
                    <a:pt x="2907" y="1766"/>
                  </a:lnTo>
                  <a:lnTo>
                    <a:pt x="2908" y="1750"/>
                  </a:lnTo>
                  <a:lnTo>
                    <a:pt x="2908" y="1750"/>
                  </a:lnTo>
                  <a:lnTo>
                    <a:pt x="2907" y="1737"/>
                  </a:lnTo>
                  <a:lnTo>
                    <a:pt x="2906" y="1725"/>
                  </a:lnTo>
                  <a:lnTo>
                    <a:pt x="2904" y="1712"/>
                  </a:lnTo>
                  <a:lnTo>
                    <a:pt x="2901" y="1701"/>
                  </a:lnTo>
                  <a:lnTo>
                    <a:pt x="2897" y="1691"/>
                  </a:lnTo>
                  <a:lnTo>
                    <a:pt x="2893" y="1682"/>
                  </a:lnTo>
                  <a:lnTo>
                    <a:pt x="2888" y="1673"/>
                  </a:lnTo>
                  <a:lnTo>
                    <a:pt x="2883" y="1665"/>
                  </a:lnTo>
                  <a:lnTo>
                    <a:pt x="2876" y="1657"/>
                  </a:lnTo>
                  <a:lnTo>
                    <a:pt x="2868" y="1652"/>
                  </a:lnTo>
                  <a:lnTo>
                    <a:pt x="2861" y="1646"/>
                  </a:lnTo>
                  <a:lnTo>
                    <a:pt x="2853" y="1642"/>
                  </a:lnTo>
                  <a:lnTo>
                    <a:pt x="2844" y="1639"/>
                  </a:lnTo>
                  <a:lnTo>
                    <a:pt x="2834" y="1635"/>
                  </a:lnTo>
                  <a:lnTo>
                    <a:pt x="2824" y="1634"/>
                  </a:lnTo>
                  <a:lnTo>
                    <a:pt x="2814" y="1633"/>
                  </a:lnTo>
                  <a:lnTo>
                    <a:pt x="2814" y="1633"/>
                  </a:lnTo>
                  <a:lnTo>
                    <a:pt x="2803" y="1634"/>
                  </a:lnTo>
                  <a:lnTo>
                    <a:pt x="2793" y="1635"/>
                  </a:lnTo>
                  <a:lnTo>
                    <a:pt x="2783" y="1639"/>
                  </a:lnTo>
                  <a:lnTo>
                    <a:pt x="2775" y="1642"/>
                  </a:lnTo>
                  <a:lnTo>
                    <a:pt x="2766" y="1646"/>
                  </a:lnTo>
                  <a:lnTo>
                    <a:pt x="2757" y="1653"/>
                  </a:lnTo>
                  <a:lnTo>
                    <a:pt x="2750" y="1658"/>
                  </a:lnTo>
                  <a:lnTo>
                    <a:pt x="2743" y="1666"/>
                  </a:lnTo>
                  <a:lnTo>
                    <a:pt x="2736" y="1674"/>
                  </a:lnTo>
                  <a:lnTo>
                    <a:pt x="2730" y="1683"/>
                  </a:lnTo>
                  <a:lnTo>
                    <a:pt x="2726" y="1693"/>
                  </a:lnTo>
                  <a:lnTo>
                    <a:pt x="2722" y="1703"/>
                  </a:lnTo>
                  <a:lnTo>
                    <a:pt x="2719" y="1714"/>
                  </a:lnTo>
                  <a:lnTo>
                    <a:pt x="2716" y="1726"/>
                  </a:lnTo>
                  <a:lnTo>
                    <a:pt x="2715" y="1737"/>
                  </a:lnTo>
                  <a:lnTo>
                    <a:pt x="2715" y="1750"/>
                  </a:lnTo>
                  <a:lnTo>
                    <a:pt x="2715" y="1750"/>
                  </a:lnTo>
                  <a:lnTo>
                    <a:pt x="2715" y="1762"/>
                  </a:lnTo>
                  <a:lnTo>
                    <a:pt x="2716" y="1774"/>
                  </a:lnTo>
                  <a:lnTo>
                    <a:pt x="2718" y="1786"/>
                  </a:lnTo>
                  <a:lnTo>
                    <a:pt x="2722" y="1797"/>
                  </a:lnTo>
                  <a:lnTo>
                    <a:pt x="2726" y="1807"/>
                  </a:lnTo>
                  <a:lnTo>
                    <a:pt x="2732" y="1817"/>
                  </a:lnTo>
                  <a:lnTo>
                    <a:pt x="2737" y="1826"/>
                  </a:lnTo>
                  <a:lnTo>
                    <a:pt x="2744" y="1834"/>
                  </a:lnTo>
                  <a:lnTo>
                    <a:pt x="2750" y="1840"/>
                  </a:lnTo>
                  <a:lnTo>
                    <a:pt x="2758" y="1847"/>
                  </a:lnTo>
                  <a:lnTo>
                    <a:pt x="2767" y="1853"/>
                  </a:lnTo>
                  <a:lnTo>
                    <a:pt x="2777" y="1857"/>
                  </a:lnTo>
                  <a:lnTo>
                    <a:pt x="2787" y="1860"/>
                  </a:lnTo>
                  <a:lnTo>
                    <a:pt x="2797" y="1864"/>
                  </a:lnTo>
                  <a:lnTo>
                    <a:pt x="2809" y="1865"/>
                  </a:lnTo>
                  <a:lnTo>
                    <a:pt x="2820" y="1866"/>
                  </a:lnTo>
                  <a:lnTo>
                    <a:pt x="2820" y="1866"/>
                  </a:lnTo>
                  <a:lnTo>
                    <a:pt x="2831" y="1865"/>
                  </a:lnTo>
                  <a:lnTo>
                    <a:pt x="2842" y="1864"/>
                  </a:lnTo>
                  <a:lnTo>
                    <a:pt x="2852" y="1860"/>
                  </a:lnTo>
                  <a:lnTo>
                    <a:pt x="2862" y="1857"/>
                  </a:lnTo>
                  <a:lnTo>
                    <a:pt x="2872" y="1851"/>
                  </a:lnTo>
                  <a:lnTo>
                    <a:pt x="2882" y="1846"/>
                  </a:lnTo>
                  <a:lnTo>
                    <a:pt x="2890" y="1838"/>
                  </a:lnTo>
                  <a:lnTo>
                    <a:pt x="2898" y="1830"/>
                  </a:lnTo>
                  <a:lnTo>
                    <a:pt x="2864" y="1796"/>
                  </a:lnTo>
                  <a:close/>
                  <a:moveTo>
                    <a:pt x="2771" y="1726"/>
                  </a:moveTo>
                  <a:lnTo>
                    <a:pt x="2771" y="1726"/>
                  </a:lnTo>
                  <a:lnTo>
                    <a:pt x="2772" y="1716"/>
                  </a:lnTo>
                  <a:lnTo>
                    <a:pt x="2776" y="1707"/>
                  </a:lnTo>
                  <a:lnTo>
                    <a:pt x="2779" y="1699"/>
                  </a:lnTo>
                  <a:lnTo>
                    <a:pt x="2783" y="1693"/>
                  </a:lnTo>
                  <a:lnTo>
                    <a:pt x="2790" y="1687"/>
                  </a:lnTo>
                  <a:lnTo>
                    <a:pt x="2797" y="1684"/>
                  </a:lnTo>
                  <a:lnTo>
                    <a:pt x="2804" y="1680"/>
                  </a:lnTo>
                  <a:lnTo>
                    <a:pt x="2813" y="1680"/>
                  </a:lnTo>
                  <a:lnTo>
                    <a:pt x="2813" y="1680"/>
                  </a:lnTo>
                  <a:lnTo>
                    <a:pt x="2823" y="1682"/>
                  </a:lnTo>
                  <a:lnTo>
                    <a:pt x="2831" y="1684"/>
                  </a:lnTo>
                  <a:lnTo>
                    <a:pt x="2839" y="1688"/>
                  </a:lnTo>
                  <a:lnTo>
                    <a:pt x="2844" y="1695"/>
                  </a:lnTo>
                  <a:lnTo>
                    <a:pt x="2849" y="1701"/>
                  </a:lnTo>
                  <a:lnTo>
                    <a:pt x="2852" y="1709"/>
                  </a:lnTo>
                  <a:lnTo>
                    <a:pt x="2854" y="1718"/>
                  </a:lnTo>
                  <a:lnTo>
                    <a:pt x="2855" y="1726"/>
                  </a:lnTo>
                  <a:lnTo>
                    <a:pt x="2771" y="1726"/>
                  </a:lnTo>
                  <a:close/>
                  <a:moveTo>
                    <a:pt x="2639" y="1783"/>
                  </a:moveTo>
                  <a:lnTo>
                    <a:pt x="2639" y="1783"/>
                  </a:lnTo>
                  <a:lnTo>
                    <a:pt x="2639" y="1791"/>
                  </a:lnTo>
                  <a:lnTo>
                    <a:pt x="2640" y="1796"/>
                  </a:lnTo>
                  <a:lnTo>
                    <a:pt x="2642" y="1802"/>
                  </a:lnTo>
                  <a:lnTo>
                    <a:pt x="2644" y="1806"/>
                  </a:lnTo>
                  <a:lnTo>
                    <a:pt x="2648" y="1810"/>
                  </a:lnTo>
                  <a:lnTo>
                    <a:pt x="2652" y="1812"/>
                  </a:lnTo>
                  <a:lnTo>
                    <a:pt x="2656" y="1813"/>
                  </a:lnTo>
                  <a:lnTo>
                    <a:pt x="2663" y="1813"/>
                  </a:lnTo>
                  <a:lnTo>
                    <a:pt x="2663" y="1813"/>
                  </a:lnTo>
                  <a:lnTo>
                    <a:pt x="2671" y="1813"/>
                  </a:lnTo>
                  <a:lnTo>
                    <a:pt x="2680" y="1811"/>
                  </a:lnTo>
                  <a:lnTo>
                    <a:pt x="2688" y="1807"/>
                  </a:lnTo>
                  <a:lnTo>
                    <a:pt x="2696" y="1803"/>
                  </a:lnTo>
                  <a:lnTo>
                    <a:pt x="2690" y="1855"/>
                  </a:lnTo>
                  <a:lnTo>
                    <a:pt x="2690" y="1855"/>
                  </a:lnTo>
                  <a:lnTo>
                    <a:pt x="2680" y="1859"/>
                  </a:lnTo>
                  <a:lnTo>
                    <a:pt x="2668" y="1862"/>
                  </a:lnTo>
                  <a:lnTo>
                    <a:pt x="2655" y="1865"/>
                  </a:lnTo>
                  <a:lnTo>
                    <a:pt x="2643" y="1866"/>
                  </a:lnTo>
                  <a:lnTo>
                    <a:pt x="2643" y="1866"/>
                  </a:lnTo>
                  <a:lnTo>
                    <a:pt x="2636" y="1865"/>
                  </a:lnTo>
                  <a:lnTo>
                    <a:pt x="2628" y="1864"/>
                  </a:lnTo>
                  <a:lnTo>
                    <a:pt x="2621" y="1861"/>
                  </a:lnTo>
                  <a:lnTo>
                    <a:pt x="2616" y="1859"/>
                  </a:lnTo>
                  <a:lnTo>
                    <a:pt x="2610" y="1856"/>
                  </a:lnTo>
                  <a:lnTo>
                    <a:pt x="2605" y="1853"/>
                  </a:lnTo>
                  <a:lnTo>
                    <a:pt x="2601" y="1848"/>
                  </a:lnTo>
                  <a:lnTo>
                    <a:pt x="2597" y="1843"/>
                  </a:lnTo>
                  <a:lnTo>
                    <a:pt x="2591" y="1833"/>
                  </a:lnTo>
                  <a:lnTo>
                    <a:pt x="2587" y="1821"/>
                  </a:lnTo>
                  <a:lnTo>
                    <a:pt x="2585" y="1810"/>
                  </a:lnTo>
                  <a:lnTo>
                    <a:pt x="2584" y="1797"/>
                  </a:lnTo>
                  <a:lnTo>
                    <a:pt x="2584" y="1689"/>
                  </a:lnTo>
                  <a:lnTo>
                    <a:pt x="2549" y="1689"/>
                  </a:lnTo>
                  <a:lnTo>
                    <a:pt x="2549" y="1639"/>
                  </a:lnTo>
                  <a:lnTo>
                    <a:pt x="2584" y="1639"/>
                  </a:lnTo>
                  <a:lnTo>
                    <a:pt x="2584" y="1581"/>
                  </a:lnTo>
                  <a:lnTo>
                    <a:pt x="2639" y="1554"/>
                  </a:lnTo>
                  <a:lnTo>
                    <a:pt x="2639" y="1639"/>
                  </a:lnTo>
                  <a:lnTo>
                    <a:pt x="2688" y="1639"/>
                  </a:lnTo>
                  <a:lnTo>
                    <a:pt x="2688" y="1689"/>
                  </a:lnTo>
                  <a:lnTo>
                    <a:pt x="2639" y="1689"/>
                  </a:lnTo>
                  <a:lnTo>
                    <a:pt x="2639" y="1783"/>
                  </a:lnTo>
                  <a:close/>
                  <a:moveTo>
                    <a:pt x="2532" y="1855"/>
                  </a:moveTo>
                  <a:lnTo>
                    <a:pt x="2532" y="1855"/>
                  </a:lnTo>
                  <a:lnTo>
                    <a:pt x="2522" y="1859"/>
                  </a:lnTo>
                  <a:lnTo>
                    <a:pt x="2511" y="1862"/>
                  </a:lnTo>
                  <a:lnTo>
                    <a:pt x="2499" y="1865"/>
                  </a:lnTo>
                  <a:lnTo>
                    <a:pt x="2487" y="1866"/>
                  </a:lnTo>
                  <a:lnTo>
                    <a:pt x="2487" y="1866"/>
                  </a:lnTo>
                  <a:lnTo>
                    <a:pt x="2478" y="1865"/>
                  </a:lnTo>
                  <a:lnTo>
                    <a:pt x="2471" y="1864"/>
                  </a:lnTo>
                  <a:lnTo>
                    <a:pt x="2464" y="1861"/>
                  </a:lnTo>
                  <a:lnTo>
                    <a:pt x="2458" y="1859"/>
                  </a:lnTo>
                  <a:lnTo>
                    <a:pt x="2453" y="1856"/>
                  </a:lnTo>
                  <a:lnTo>
                    <a:pt x="2448" y="1853"/>
                  </a:lnTo>
                  <a:lnTo>
                    <a:pt x="2443" y="1848"/>
                  </a:lnTo>
                  <a:lnTo>
                    <a:pt x="2440" y="1843"/>
                  </a:lnTo>
                  <a:lnTo>
                    <a:pt x="2434" y="1833"/>
                  </a:lnTo>
                  <a:lnTo>
                    <a:pt x="2430" y="1821"/>
                  </a:lnTo>
                  <a:lnTo>
                    <a:pt x="2427" y="1810"/>
                  </a:lnTo>
                  <a:lnTo>
                    <a:pt x="2427" y="1797"/>
                  </a:lnTo>
                  <a:lnTo>
                    <a:pt x="2427" y="1689"/>
                  </a:lnTo>
                  <a:lnTo>
                    <a:pt x="2393" y="1689"/>
                  </a:lnTo>
                  <a:lnTo>
                    <a:pt x="2393" y="1639"/>
                  </a:lnTo>
                  <a:lnTo>
                    <a:pt x="2427" y="1639"/>
                  </a:lnTo>
                  <a:lnTo>
                    <a:pt x="2427" y="1581"/>
                  </a:lnTo>
                  <a:lnTo>
                    <a:pt x="2482" y="1554"/>
                  </a:lnTo>
                  <a:lnTo>
                    <a:pt x="2482" y="1639"/>
                  </a:lnTo>
                  <a:lnTo>
                    <a:pt x="2528" y="1639"/>
                  </a:lnTo>
                  <a:lnTo>
                    <a:pt x="2528" y="1689"/>
                  </a:lnTo>
                  <a:lnTo>
                    <a:pt x="2482" y="1689"/>
                  </a:lnTo>
                  <a:lnTo>
                    <a:pt x="2482" y="1783"/>
                  </a:lnTo>
                  <a:lnTo>
                    <a:pt x="2482" y="1783"/>
                  </a:lnTo>
                  <a:lnTo>
                    <a:pt x="2482" y="1791"/>
                  </a:lnTo>
                  <a:lnTo>
                    <a:pt x="2483" y="1796"/>
                  </a:lnTo>
                  <a:lnTo>
                    <a:pt x="2485" y="1802"/>
                  </a:lnTo>
                  <a:lnTo>
                    <a:pt x="2488" y="1806"/>
                  </a:lnTo>
                  <a:lnTo>
                    <a:pt x="2491" y="1810"/>
                  </a:lnTo>
                  <a:lnTo>
                    <a:pt x="2495" y="1812"/>
                  </a:lnTo>
                  <a:lnTo>
                    <a:pt x="2500" y="1813"/>
                  </a:lnTo>
                  <a:lnTo>
                    <a:pt x="2505" y="1813"/>
                  </a:lnTo>
                  <a:lnTo>
                    <a:pt x="2505" y="1813"/>
                  </a:lnTo>
                  <a:lnTo>
                    <a:pt x="2514" y="1813"/>
                  </a:lnTo>
                  <a:lnTo>
                    <a:pt x="2523" y="1811"/>
                  </a:lnTo>
                  <a:lnTo>
                    <a:pt x="2531" y="1807"/>
                  </a:lnTo>
                  <a:lnTo>
                    <a:pt x="2538" y="1803"/>
                  </a:lnTo>
                  <a:lnTo>
                    <a:pt x="2532" y="1855"/>
                  </a:lnTo>
                  <a:close/>
                  <a:moveTo>
                    <a:pt x="3074" y="1700"/>
                  </a:moveTo>
                  <a:lnTo>
                    <a:pt x="3074" y="1700"/>
                  </a:lnTo>
                  <a:lnTo>
                    <a:pt x="3066" y="1695"/>
                  </a:lnTo>
                  <a:lnTo>
                    <a:pt x="3057" y="1691"/>
                  </a:lnTo>
                  <a:lnTo>
                    <a:pt x="3047" y="1689"/>
                  </a:lnTo>
                  <a:lnTo>
                    <a:pt x="3037" y="1688"/>
                  </a:lnTo>
                  <a:lnTo>
                    <a:pt x="3037" y="1688"/>
                  </a:lnTo>
                  <a:lnTo>
                    <a:pt x="3028" y="1689"/>
                  </a:lnTo>
                  <a:lnTo>
                    <a:pt x="3020" y="1691"/>
                  </a:lnTo>
                  <a:lnTo>
                    <a:pt x="3013" y="1696"/>
                  </a:lnTo>
                  <a:lnTo>
                    <a:pt x="3007" y="1701"/>
                  </a:lnTo>
                  <a:lnTo>
                    <a:pt x="3003" y="1708"/>
                  </a:lnTo>
                  <a:lnTo>
                    <a:pt x="3001" y="1717"/>
                  </a:lnTo>
                  <a:lnTo>
                    <a:pt x="2999" y="1728"/>
                  </a:lnTo>
                  <a:lnTo>
                    <a:pt x="2998" y="1740"/>
                  </a:lnTo>
                  <a:lnTo>
                    <a:pt x="2998" y="1860"/>
                  </a:lnTo>
                  <a:lnTo>
                    <a:pt x="2943" y="1860"/>
                  </a:lnTo>
                  <a:lnTo>
                    <a:pt x="2943" y="1639"/>
                  </a:lnTo>
                  <a:lnTo>
                    <a:pt x="2998" y="1639"/>
                  </a:lnTo>
                  <a:lnTo>
                    <a:pt x="2998" y="1657"/>
                  </a:lnTo>
                  <a:lnTo>
                    <a:pt x="2998" y="1657"/>
                  </a:lnTo>
                  <a:lnTo>
                    <a:pt x="3003" y="1652"/>
                  </a:lnTo>
                  <a:lnTo>
                    <a:pt x="3009" y="1646"/>
                  </a:lnTo>
                  <a:lnTo>
                    <a:pt x="3014" y="1643"/>
                  </a:lnTo>
                  <a:lnTo>
                    <a:pt x="3021" y="1640"/>
                  </a:lnTo>
                  <a:lnTo>
                    <a:pt x="3026" y="1636"/>
                  </a:lnTo>
                  <a:lnTo>
                    <a:pt x="3033" y="1635"/>
                  </a:lnTo>
                  <a:lnTo>
                    <a:pt x="3039" y="1634"/>
                  </a:lnTo>
                  <a:lnTo>
                    <a:pt x="3047" y="1633"/>
                  </a:lnTo>
                  <a:lnTo>
                    <a:pt x="3047" y="1633"/>
                  </a:lnTo>
                  <a:lnTo>
                    <a:pt x="3058" y="1634"/>
                  </a:lnTo>
                  <a:lnTo>
                    <a:pt x="3069" y="1637"/>
                  </a:lnTo>
                  <a:lnTo>
                    <a:pt x="3079" y="1641"/>
                  </a:lnTo>
                  <a:lnTo>
                    <a:pt x="3088" y="1646"/>
                  </a:lnTo>
                  <a:lnTo>
                    <a:pt x="3074" y="1700"/>
                  </a:lnTo>
                  <a:close/>
                  <a:moveTo>
                    <a:pt x="593" y="1579"/>
                  </a:moveTo>
                  <a:lnTo>
                    <a:pt x="593" y="1607"/>
                  </a:lnTo>
                  <a:lnTo>
                    <a:pt x="537" y="1607"/>
                  </a:lnTo>
                  <a:lnTo>
                    <a:pt x="537" y="1551"/>
                  </a:lnTo>
                  <a:lnTo>
                    <a:pt x="593" y="1551"/>
                  </a:lnTo>
                  <a:lnTo>
                    <a:pt x="593" y="1579"/>
                  </a:lnTo>
                  <a:close/>
                  <a:moveTo>
                    <a:pt x="975" y="1639"/>
                  </a:moveTo>
                  <a:lnTo>
                    <a:pt x="1030" y="1639"/>
                  </a:lnTo>
                  <a:lnTo>
                    <a:pt x="1030" y="1738"/>
                  </a:lnTo>
                  <a:lnTo>
                    <a:pt x="1030" y="1860"/>
                  </a:lnTo>
                  <a:lnTo>
                    <a:pt x="975" y="1860"/>
                  </a:lnTo>
                  <a:lnTo>
                    <a:pt x="975" y="1639"/>
                  </a:lnTo>
                  <a:close/>
                  <a:moveTo>
                    <a:pt x="1030" y="1579"/>
                  </a:moveTo>
                  <a:lnTo>
                    <a:pt x="1030" y="1607"/>
                  </a:lnTo>
                  <a:lnTo>
                    <a:pt x="975" y="1607"/>
                  </a:lnTo>
                  <a:lnTo>
                    <a:pt x="975" y="1551"/>
                  </a:lnTo>
                  <a:lnTo>
                    <a:pt x="1030" y="1551"/>
                  </a:lnTo>
                  <a:lnTo>
                    <a:pt x="1030" y="1579"/>
                  </a:lnTo>
                  <a:close/>
                  <a:moveTo>
                    <a:pt x="2539" y="2042"/>
                  </a:moveTo>
                  <a:lnTo>
                    <a:pt x="2539" y="2042"/>
                  </a:lnTo>
                  <a:lnTo>
                    <a:pt x="2534" y="2038"/>
                  </a:lnTo>
                  <a:lnTo>
                    <a:pt x="2528" y="2033"/>
                  </a:lnTo>
                  <a:lnTo>
                    <a:pt x="2523" y="2030"/>
                  </a:lnTo>
                  <a:lnTo>
                    <a:pt x="2516" y="2027"/>
                  </a:lnTo>
                  <a:lnTo>
                    <a:pt x="2511" y="2025"/>
                  </a:lnTo>
                  <a:lnTo>
                    <a:pt x="2504" y="2024"/>
                  </a:lnTo>
                  <a:lnTo>
                    <a:pt x="2490" y="2021"/>
                  </a:lnTo>
                  <a:lnTo>
                    <a:pt x="2490" y="2021"/>
                  </a:lnTo>
                  <a:lnTo>
                    <a:pt x="2480" y="2022"/>
                  </a:lnTo>
                  <a:lnTo>
                    <a:pt x="2471" y="2024"/>
                  </a:lnTo>
                  <a:lnTo>
                    <a:pt x="2462" y="2027"/>
                  </a:lnTo>
                  <a:lnTo>
                    <a:pt x="2453" y="2030"/>
                  </a:lnTo>
                  <a:lnTo>
                    <a:pt x="2446" y="2035"/>
                  </a:lnTo>
                  <a:lnTo>
                    <a:pt x="2439" y="2039"/>
                  </a:lnTo>
                  <a:lnTo>
                    <a:pt x="2432" y="2046"/>
                  </a:lnTo>
                  <a:lnTo>
                    <a:pt x="2426" y="2052"/>
                  </a:lnTo>
                  <a:lnTo>
                    <a:pt x="2421" y="2060"/>
                  </a:lnTo>
                  <a:lnTo>
                    <a:pt x="2416" y="2069"/>
                  </a:lnTo>
                  <a:lnTo>
                    <a:pt x="2413" y="2078"/>
                  </a:lnTo>
                  <a:lnTo>
                    <a:pt x="2409" y="2089"/>
                  </a:lnTo>
                  <a:lnTo>
                    <a:pt x="2406" y="2099"/>
                  </a:lnTo>
                  <a:lnTo>
                    <a:pt x="2405" y="2111"/>
                  </a:lnTo>
                  <a:lnTo>
                    <a:pt x="2404" y="2123"/>
                  </a:lnTo>
                  <a:lnTo>
                    <a:pt x="2403" y="2136"/>
                  </a:lnTo>
                  <a:lnTo>
                    <a:pt x="2403" y="2136"/>
                  </a:lnTo>
                  <a:lnTo>
                    <a:pt x="2404" y="2149"/>
                  </a:lnTo>
                  <a:lnTo>
                    <a:pt x="2405" y="2161"/>
                  </a:lnTo>
                  <a:lnTo>
                    <a:pt x="2406" y="2174"/>
                  </a:lnTo>
                  <a:lnTo>
                    <a:pt x="2409" y="2186"/>
                  </a:lnTo>
                  <a:lnTo>
                    <a:pt x="2411" y="2196"/>
                  </a:lnTo>
                  <a:lnTo>
                    <a:pt x="2416" y="2206"/>
                  </a:lnTo>
                  <a:lnTo>
                    <a:pt x="2420" y="2214"/>
                  </a:lnTo>
                  <a:lnTo>
                    <a:pt x="2426" y="2222"/>
                  </a:lnTo>
                  <a:lnTo>
                    <a:pt x="2431" y="2230"/>
                  </a:lnTo>
                  <a:lnTo>
                    <a:pt x="2438" y="2235"/>
                  </a:lnTo>
                  <a:lnTo>
                    <a:pt x="2445" y="2241"/>
                  </a:lnTo>
                  <a:lnTo>
                    <a:pt x="2452" y="2245"/>
                  </a:lnTo>
                  <a:lnTo>
                    <a:pt x="2461" y="2250"/>
                  </a:lnTo>
                  <a:lnTo>
                    <a:pt x="2470" y="2252"/>
                  </a:lnTo>
                  <a:lnTo>
                    <a:pt x="2479" y="2253"/>
                  </a:lnTo>
                  <a:lnTo>
                    <a:pt x="2489" y="2254"/>
                  </a:lnTo>
                  <a:lnTo>
                    <a:pt x="2489" y="2254"/>
                  </a:lnTo>
                  <a:lnTo>
                    <a:pt x="2495" y="2253"/>
                  </a:lnTo>
                  <a:lnTo>
                    <a:pt x="2503" y="2252"/>
                  </a:lnTo>
                  <a:lnTo>
                    <a:pt x="2510" y="2251"/>
                  </a:lnTo>
                  <a:lnTo>
                    <a:pt x="2515" y="2249"/>
                  </a:lnTo>
                  <a:lnTo>
                    <a:pt x="2522" y="2245"/>
                  </a:lnTo>
                  <a:lnTo>
                    <a:pt x="2528" y="2242"/>
                  </a:lnTo>
                  <a:lnTo>
                    <a:pt x="2534" y="2238"/>
                  </a:lnTo>
                  <a:lnTo>
                    <a:pt x="2539" y="2232"/>
                  </a:lnTo>
                  <a:lnTo>
                    <a:pt x="2539" y="2249"/>
                  </a:lnTo>
                  <a:lnTo>
                    <a:pt x="2595" y="2249"/>
                  </a:lnTo>
                  <a:lnTo>
                    <a:pt x="2595" y="1934"/>
                  </a:lnTo>
                  <a:lnTo>
                    <a:pt x="2539" y="1962"/>
                  </a:lnTo>
                  <a:lnTo>
                    <a:pt x="2539" y="2042"/>
                  </a:lnTo>
                  <a:close/>
                  <a:moveTo>
                    <a:pt x="2501" y="2203"/>
                  </a:moveTo>
                  <a:lnTo>
                    <a:pt x="2501" y="2203"/>
                  </a:lnTo>
                  <a:lnTo>
                    <a:pt x="2493" y="2202"/>
                  </a:lnTo>
                  <a:lnTo>
                    <a:pt x="2487" y="2200"/>
                  </a:lnTo>
                  <a:lnTo>
                    <a:pt x="2479" y="2197"/>
                  </a:lnTo>
                  <a:lnTo>
                    <a:pt x="2472" y="2190"/>
                  </a:lnTo>
                  <a:lnTo>
                    <a:pt x="2467" y="2181"/>
                  </a:lnTo>
                  <a:lnTo>
                    <a:pt x="2462" y="2169"/>
                  </a:lnTo>
                  <a:lnTo>
                    <a:pt x="2460" y="2154"/>
                  </a:lnTo>
                  <a:lnTo>
                    <a:pt x="2459" y="2134"/>
                  </a:lnTo>
                  <a:lnTo>
                    <a:pt x="2459" y="2134"/>
                  </a:lnTo>
                  <a:lnTo>
                    <a:pt x="2460" y="2117"/>
                  </a:lnTo>
                  <a:lnTo>
                    <a:pt x="2462" y="2103"/>
                  </a:lnTo>
                  <a:lnTo>
                    <a:pt x="2467" y="2092"/>
                  </a:lnTo>
                  <a:lnTo>
                    <a:pt x="2472" y="2084"/>
                  </a:lnTo>
                  <a:lnTo>
                    <a:pt x="2479" y="2079"/>
                  </a:lnTo>
                  <a:lnTo>
                    <a:pt x="2485" y="2074"/>
                  </a:lnTo>
                  <a:lnTo>
                    <a:pt x="2493" y="2073"/>
                  </a:lnTo>
                  <a:lnTo>
                    <a:pt x="2500" y="2072"/>
                  </a:lnTo>
                  <a:lnTo>
                    <a:pt x="2500" y="2072"/>
                  </a:lnTo>
                  <a:lnTo>
                    <a:pt x="2507" y="2073"/>
                  </a:lnTo>
                  <a:lnTo>
                    <a:pt x="2514" y="2074"/>
                  </a:lnTo>
                  <a:lnTo>
                    <a:pt x="2520" y="2076"/>
                  </a:lnTo>
                  <a:lnTo>
                    <a:pt x="2525" y="2080"/>
                  </a:lnTo>
                  <a:lnTo>
                    <a:pt x="2530" y="2083"/>
                  </a:lnTo>
                  <a:lnTo>
                    <a:pt x="2534" y="2086"/>
                  </a:lnTo>
                  <a:lnTo>
                    <a:pt x="2539" y="2094"/>
                  </a:lnTo>
                  <a:lnTo>
                    <a:pt x="2539" y="2181"/>
                  </a:lnTo>
                  <a:lnTo>
                    <a:pt x="2539" y="2181"/>
                  </a:lnTo>
                  <a:lnTo>
                    <a:pt x="2533" y="2189"/>
                  </a:lnTo>
                  <a:lnTo>
                    <a:pt x="2525" y="2196"/>
                  </a:lnTo>
                  <a:lnTo>
                    <a:pt x="2520" y="2199"/>
                  </a:lnTo>
                  <a:lnTo>
                    <a:pt x="2514" y="2201"/>
                  </a:lnTo>
                  <a:lnTo>
                    <a:pt x="2507" y="2202"/>
                  </a:lnTo>
                  <a:lnTo>
                    <a:pt x="2501" y="2203"/>
                  </a:lnTo>
                  <a:lnTo>
                    <a:pt x="2501" y="2203"/>
                  </a:lnTo>
                  <a:close/>
                  <a:moveTo>
                    <a:pt x="672" y="2089"/>
                  </a:moveTo>
                  <a:lnTo>
                    <a:pt x="672" y="2089"/>
                  </a:lnTo>
                  <a:lnTo>
                    <a:pt x="664" y="2084"/>
                  </a:lnTo>
                  <a:lnTo>
                    <a:pt x="656" y="2080"/>
                  </a:lnTo>
                  <a:lnTo>
                    <a:pt x="646" y="2078"/>
                  </a:lnTo>
                  <a:lnTo>
                    <a:pt x="636" y="2076"/>
                  </a:lnTo>
                  <a:lnTo>
                    <a:pt x="636" y="2076"/>
                  </a:lnTo>
                  <a:lnTo>
                    <a:pt x="627" y="2078"/>
                  </a:lnTo>
                  <a:lnTo>
                    <a:pt x="618" y="2080"/>
                  </a:lnTo>
                  <a:lnTo>
                    <a:pt x="611" y="2084"/>
                  </a:lnTo>
                  <a:lnTo>
                    <a:pt x="606" y="2090"/>
                  </a:lnTo>
                  <a:lnTo>
                    <a:pt x="601" y="2096"/>
                  </a:lnTo>
                  <a:lnTo>
                    <a:pt x="599" y="2105"/>
                  </a:lnTo>
                  <a:lnTo>
                    <a:pt x="597" y="2116"/>
                  </a:lnTo>
                  <a:lnTo>
                    <a:pt x="596" y="2128"/>
                  </a:lnTo>
                  <a:lnTo>
                    <a:pt x="596" y="2249"/>
                  </a:lnTo>
                  <a:lnTo>
                    <a:pt x="542" y="2249"/>
                  </a:lnTo>
                  <a:lnTo>
                    <a:pt x="542" y="2027"/>
                  </a:lnTo>
                  <a:lnTo>
                    <a:pt x="596" y="2027"/>
                  </a:lnTo>
                  <a:lnTo>
                    <a:pt x="596" y="2046"/>
                  </a:lnTo>
                  <a:lnTo>
                    <a:pt x="596" y="2046"/>
                  </a:lnTo>
                  <a:lnTo>
                    <a:pt x="601" y="2040"/>
                  </a:lnTo>
                  <a:lnTo>
                    <a:pt x="607" y="2035"/>
                  </a:lnTo>
                  <a:lnTo>
                    <a:pt x="613" y="2031"/>
                  </a:lnTo>
                  <a:lnTo>
                    <a:pt x="619" y="2028"/>
                  </a:lnTo>
                  <a:lnTo>
                    <a:pt x="625" y="2025"/>
                  </a:lnTo>
                  <a:lnTo>
                    <a:pt x="631" y="2024"/>
                  </a:lnTo>
                  <a:lnTo>
                    <a:pt x="639" y="2022"/>
                  </a:lnTo>
                  <a:lnTo>
                    <a:pt x="646" y="2021"/>
                  </a:lnTo>
                  <a:lnTo>
                    <a:pt x="646" y="2021"/>
                  </a:lnTo>
                  <a:lnTo>
                    <a:pt x="657" y="2022"/>
                  </a:lnTo>
                  <a:lnTo>
                    <a:pt x="668" y="2026"/>
                  </a:lnTo>
                  <a:lnTo>
                    <a:pt x="679" y="2030"/>
                  </a:lnTo>
                  <a:lnTo>
                    <a:pt x="688" y="2036"/>
                  </a:lnTo>
                  <a:lnTo>
                    <a:pt x="672" y="2089"/>
                  </a:lnTo>
                  <a:close/>
                  <a:moveTo>
                    <a:pt x="241" y="2027"/>
                  </a:moveTo>
                  <a:lnTo>
                    <a:pt x="295" y="2027"/>
                  </a:lnTo>
                  <a:lnTo>
                    <a:pt x="232" y="2249"/>
                  </a:lnTo>
                  <a:lnTo>
                    <a:pt x="184" y="2249"/>
                  </a:lnTo>
                  <a:lnTo>
                    <a:pt x="160" y="2157"/>
                  </a:lnTo>
                  <a:lnTo>
                    <a:pt x="160" y="2157"/>
                  </a:lnTo>
                  <a:lnTo>
                    <a:pt x="148" y="2108"/>
                  </a:lnTo>
                  <a:lnTo>
                    <a:pt x="148" y="2108"/>
                  </a:lnTo>
                  <a:lnTo>
                    <a:pt x="142" y="2132"/>
                  </a:lnTo>
                  <a:lnTo>
                    <a:pt x="136" y="2158"/>
                  </a:lnTo>
                  <a:lnTo>
                    <a:pt x="110" y="2249"/>
                  </a:lnTo>
                  <a:lnTo>
                    <a:pt x="63" y="2249"/>
                  </a:lnTo>
                  <a:lnTo>
                    <a:pt x="63" y="2247"/>
                  </a:lnTo>
                  <a:lnTo>
                    <a:pt x="0" y="2027"/>
                  </a:lnTo>
                  <a:lnTo>
                    <a:pt x="57" y="2027"/>
                  </a:lnTo>
                  <a:lnTo>
                    <a:pt x="77" y="2110"/>
                  </a:lnTo>
                  <a:lnTo>
                    <a:pt x="77" y="2110"/>
                  </a:lnTo>
                  <a:lnTo>
                    <a:pt x="83" y="2136"/>
                  </a:lnTo>
                  <a:lnTo>
                    <a:pt x="88" y="2164"/>
                  </a:lnTo>
                  <a:lnTo>
                    <a:pt x="88" y="2164"/>
                  </a:lnTo>
                  <a:lnTo>
                    <a:pt x="95" y="2136"/>
                  </a:lnTo>
                  <a:lnTo>
                    <a:pt x="102" y="2108"/>
                  </a:lnTo>
                  <a:lnTo>
                    <a:pt x="125" y="2027"/>
                  </a:lnTo>
                  <a:lnTo>
                    <a:pt x="172" y="2027"/>
                  </a:lnTo>
                  <a:lnTo>
                    <a:pt x="195" y="2108"/>
                  </a:lnTo>
                  <a:lnTo>
                    <a:pt x="195" y="2108"/>
                  </a:lnTo>
                  <a:lnTo>
                    <a:pt x="202" y="2135"/>
                  </a:lnTo>
                  <a:lnTo>
                    <a:pt x="209" y="2165"/>
                  </a:lnTo>
                  <a:lnTo>
                    <a:pt x="209" y="2165"/>
                  </a:lnTo>
                  <a:lnTo>
                    <a:pt x="213" y="2139"/>
                  </a:lnTo>
                  <a:lnTo>
                    <a:pt x="220" y="2108"/>
                  </a:lnTo>
                  <a:lnTo>
                    <a:pt x="241" y="2027"/>
                  </a:lnTo>
                  <a:close/>
                  <a:moveTo>
                    <a:pt x="406" y="2021"/>
                  </a:moveTo>
                  <a:lnTo>
                    <a:pt x="406" y="2021"/>
                  </a:lnTo>
                  <a:lnTo>
                    <a:pt x="396" y="2022"/>
                  </a:lnTo>
                  <a:lnTo>
                    <a:pt x="385" y="2024"/>
                  </a:lnTo>
                  <a:lnTo>
                    <a:pt x="375" y="2027"/>
                  </a:lnTo>
                  <a:lnTo>
                    <a:pt x="366" y="2030"/>
                  </a:lnTo>
                  <a:lnTo>
                    <a:pt x="358" y="2035"/>
                  </a:lnTo>
                  <a:lnTo>
                    <a:pt x="349" y="2040"/>
                  </a:lnTo>
                  <a:lnTo>
                    <a:pt x="341" y="2047"/>
                  </a:lnTo>
                  <a:lnTo>
                    <a:pt x="334" y="2054"/>
                  </a:lnTo>
                  <a:lnTo>
                    <a:pt x="328" y="2062"/>
                  </a:lnTo>
                  <a:lnTo>
                    <a:pt x="322" y="2071"/>
                  </a:lnTo>
                  <a:lnTo>
                    <a:pt x="317" y="2081"/>
                  </a:lnTo>
                  <a:lnTo>
                    <a:pt x="313" y="2091"/>
                  </a:lnTo>
                  <a:lnTo>
                    <a:pt x="310" y="2102"/>
                  </a:lnTo>
                  <a:lnTo>
                    <a:pt x="308" y="2113"/>
                  </a:lnTo>
                  <a:lnTo>
                    <a:pt x="306" y="2125"/>
                  </a:lnTo>
                  <a:lnTo>
                    <a:pt x="306" y="2138"/>
                  </a:lnTo>
                  <a:lnTo>
                    <a:pt x="306" y="2138"/>
                  </a:lnTo>
                  <a:lnTo>
                    <a:pt x="306" y="2150"/>
                  </a:lnTo>
                  <a:lnTo>
                    <a:pt x="308" y="2163"/>
                  </a:lnTo>
                  <a:lnTo>
                    <a:pt x="310" y="2174"/>
                  </a:lnTo>
                  <a:lnTo>
                    <a:pt x="313" y="2185"/>
                  </a:lnTo>
                  <a:lnTo>
                    <a:pt x="317" y="2194"/>
                  </a:lnTo>
                  <a:lnTo>
                    <a:pt x="322" y="2204"/>
                  </a:lnTo>
                  <a:lnTo>
                    <a:pt x="328" y="2213"/>
                  </a:lnTo>
                  <a:lnTo>
                    <a:pt x="334" y="2221"/>
                  </a:lnTo>
                  <a:lnTo>
                    <a:pt x="341" y="2229"/>
                  </a:lnTo>
                  <a:lnTo>
                    <a:pt x="349" y="2235"/>
                  </a:lnTo>
                  <a:lnTo>
                    <a:pt x="358" y="2241"/>
                  </a:lnTo>
                  <a:lnTo>
                    <a:pt x="366" y="2245"/>
                  </a:lnTo>
                  <a:lnTo>
                    <a:pt x="375" y="2249"/>
                  </a:lnTo>
                  <a:lnTo>
                    <a:pt x="385" y="2252"/>
                  </a:lnTo>
                  <a:lnTo>
                    <a:pt x="396" y="2253"/>
                  </a:lnTo>
                  <a:lnTo>
                    <a:pt x="406" y="2254"/>
                  </a:lnTo>
                  <a:lnTo>
                    <a:pt x="406" y="2254"/>
                  </a:lnTo>
                  <a:lnTo>
                    <a:pt x="417" y="2253"/>
                  </a:lnTo>
                  <a:lnTo>
                    <a:pt x="428" y="2252"/>
                  </a:lnTo>
                  <a:lnTo>
                    <a:pt x="438" y="2249"/>
                  </a:lnTo>
                  <a:lnTo>
                    <a:pt x="447" y="2245"/>
                  </a:lnTo>
                  <a:lnTo>
                    <a:pt x="456" y="2241"/>
                  </a:lnTo>
                  <a:lnTo>
                    <a:pt x="465" y="2235"/>
                  </a:lnTo>
                  <a:lnTo>
                    <a:pt x="472" y="2229"/>
                  </a:lnTo>
                  <a:lnTo>
                    <a:pt x="479" y="2221"/>
                  </a:lnTo>
                  <a:lnTo>
                    <a:pt x="486" y="2213"/>
                  </a:lnTo>
                  <a:lnTo>
                    <a:pt x="491" y="2204"/>
                  </a:lnTo>
                  <a:lnTo>
                    <a:pt x="496" y="2194"/>
                  </a:lnTo>
                  <a:lnTo>
                    <a:pt x="500" y="2185"/>
                  </a:lnTo>
                  <a:lnTo>
                    <a:pt x="503" y="2174"/>
                  </a:lnTo>
                  <a:lnTo>
                    <a:pt x="505" y="2163"/>
                  </a:lnTo>
                  <a:lnTo>
                    <a:pt x="508" y="2150"/>
                  </a:lnTo>
                  <a:lnTo>
                    <a:pt x="508" y="2138"/>
                  </a:lnTo>
                  <a:lnTo>
                    <a:pt x="508" y="2138"/>
                  </a:lnTo>
                  <a:lnTo>
                    <a:pt x="508" y="2125"/>
                  </a:lnTo>
                  <a:lnTo>
                    <a:pt x="505" y="2113"/>
                  </a:lnTo>
                  <a:lnTo>
                    <a:pt x="503" y="2102"/>
                  </a:lnTo>
                  <a:lnTo>
                    <a:pt x="500" y="2091"/>
                  </a:lnTo>
                  <a:lnTo>
                    <a:pt x="496" y="2081"/>
                  </a:lnTo>
                  <a:lnTo>
                    <a:pt x="491" y="2071"/>
                  </a:lnTo>
                  <a:lnTo>
                    <a:pt x="486" y="2062"/>
                  </a:lnTo>
                  <a:lnTo>
                    <a:pt x="479" y="2054"/>
                  </a:lnTo>
                  <a:lnTo>
                    <a:pt x="472" y="2047"/>
                  </a:lnTo>
                  <a:lnTo>
                    <a:pt x="465" y="2040"/>
                  </a:lnTo>
                  <a:lnTo>
                    <a:pt x="456" y="2035"/>
                  </a:lnTo>
                  <a:lnTo>
                    <a:pt x="447" y="2030"/>
                  </a:lnTo>
                  <a:lnTo>
                    <a:pt x="438" y="2027"/>
                  </a:lnTo>
                  <a:lnTo>
                    <a:pt x="428" y="2024"/>
                  </a:lnTo>
                  <a:lnTo>
                    <a:pt x="417" y="2022"/>
                  </a:lnTo>
                  <a:lnTo>
                    <a:pt x="406" y="2021"/>
                  </a:lnTo>
                  <a:lnTo>
                    <a:pt x="406" y="2021"/>
                  </a:lnTo>
                  <a:close/>
                  <a:moveTo>
                    <a:pt x="406" y="2202"/>
                  </a:moveTo>
                  <a:lnTo>
                    <a:pt x="406" y="2202"/>
                  </a:lnTo>
                  <a:lnTo>
                    <a:pt x="396" y="2201"/>
                  </a:lnTo>
                  <a:lnTo>
                    <a:pt x="387" y="2198"/>
                  </a:lnTo>
                  <a:lnTo>
                    <a:pt x="381" y="2192"/>
                  </a:lnTo>
                  <a:lnTo>
                    <a:pt x="374" y="2185"/>
                  </a:lnTo>
                  <a:lnTo>
                    <a:pt x="369" y="2176"/>
                  </a:lnTo>
                  <a:lnTo>
                    <a:pt x="364" y="2165"/>
                  </a:lnTo>
                  <a:lnTo>
                    <a:pt x="362" y="2151"/>
                  </a:lnTo>
                  <a:lnTo>
                    <a:pt x="362" y="2138"/>
                  </a:lnTo>
                  <a:lnTo>
                    <a:pt x="362" y="2138"/>
                  </a:lnTo>
                  <a:lnTo>
                    <a:pt x="362" y="2124"/>
                  </a:lnTo>
                  <a:lnTo>
                    <a:pt x="364" y="2111"/>
                  </a:lnTo>
                  <a:lnTo>
                    <a:pt x="369" y="2101"/>
                  </a:lnTo>
                  <a:lnTo>
                    <a:pt x="374" y="2091"/>
                  </a:lnTo>
                  <a:lnTo>
                    <a:pt x="381" y="2083"/>
                  </a:lnTo>
                  <a:lnTo>
                    <a:pt x="387" y="2078"/>
                  </a:lnTo>
                  <a:lnTo>
                    <a:pt x="396" y="2074"/>
                  </a:lnTo>
                  <a:lnTo>
                    <a:pt x="406" y="2073"/>
                  </a:lnTo>
                  <a:lnTo>
                    <a:pt x="406" y="2073"/>
                  </a:lnTo>
                  <a:lnTo>
                    <a:pt x="416" y="2074"/>
                  </a:lnTo>
                  <a:lnTo>
                    <a:pt x="425" y="2078"/>
                  </a:lnTo>
                  <a:lnTo>
                    <a:pt x="433" y="2083"/>
                  </a:lnTo>
                  <a:lnTo>
                    <a:pt x="439" y="2091"/>
                  </a:lnTo>
                  <a:lnTo>
                    <a:pt x="445" y="2101"/>
                  </a:lnTo>
                  <a:lnTo>
                    <a:pt x="448" y="2111"/>
                  </a:lnTo>
                  <a:lnTo>
                    <a:pt x="450" y="2124"/>
                  </a:lnTo>
                  <a:lnTo>
                    <a:pt x="451" y="2138"/>
                  </a:lnTo>
                  <a:lnTo>
                    <a:pt x="451" y="2138"/>
                  </a:lnTo>
                  <a:lnTo>
                    <a:pt x="450" y="2151"/>
                  </a:lnTo>
                  <a:lnTo>
                    <a:pt x="448" y="2165"/>
                  </a:lnTo>
                  <a:lnTo>
                    <a:pt x="445" y="2176"/>
                  </a:lnTo>
                  <a:lnTo>
                    <a:pt x="439" y="2185"/>
                  </a:lnTo>
                  <a:lnTo>
                    <a:pt x="433" y="2192"/>
                  </a:lnTo>
                  <a:lnTo>
                    <a:pt x="425" y="2198"/>
                  </a:lnTo>
                  <a:lnTo>
                    <a:pt x="416" y="2201"/>
                  </a:lnTo>
                  <a:lnTo>
                    <a:pt x="406" y="2202"/>
                  </a:lnTo>
                  <a:lnTo>
                    <a:pt x="406" y="2202"/>
                  </a:lnTo>
                  <a:close/>
                  <a:moveTo>
                    <a:pt x="2269" y="2089"/>
                  </a:moveTo>
                  <a:lnTo>
                    <a:pt x="2269" y="2089"/>
                  </a:lnTo>
                  <a:lnTo>
                    <a:pt x="2260" y="2084"/>
                  </a:lnTo>
                  <a:lnTo>
                    <a:pt x="2251" y="2080"/>
                  </a:lnTo>
                  <a:lnTo>
                    <a:pt x="2242" y="2078"/>
                  </a:lnTo>
                  <a:lnTo>
                    <a:pt x="2233" y="2076"/>
                  </a:lnTo>
                  <a:lnTo>
                    <a:pt x="2233" y="2076"/>
                  </a:lnTo>
                  <a:lnTo>
                    <a:pt x="2223" y="2078"/>
                  </a:lnTo>
                  <a:lnTo>
                    <a:pt x="2215" y="2080"/>
                  </a:lnTo>
                  <a:lnTo>
                    <a:pt x="2208" y="2084"/>
                  </a:lnTo>
                  <a:lnTo>
                    <a:pt x="2203" y="2090"/>
                  </a:lnTo>
                  <a:lnTo>
                    <a:pt x="2198" y="2096"/>
                  </a:lnTo>
                  <a:lnTo>
                    <a:pt x="2195" y="2105"/>
                  </a:lnTo>
                  <a:lnTo>
                    <a:pt x="2193" y="2116"/>
                  </a:lnTo>
                  <a:lnTo>
                    <a:pt x="2193" y="2128"/>
                  </a:lnTo>
                  <a:lnTo>
                    <a:pt x="2193" y="2249"/>
                  </a:lnTo>
                  <a:lnTo>
                    <a:pt x="2138" y="2249"/>
                  </a:lnTo>
                  <a:lnTo>
                    <a:pt x="2138" y="2027"/>
                  </a:lnTo>
                  <a:lnTo>
                    <a:pt x="2193" y="2027"/>
                  </a:lnTo>
                  <a:lnTo>
                    <a:pt x="2193" y="2046"/>
                  </a:lnTo>
                  <a:lnTo>
                    <a:pt x="2193" y="2046"/>
                  </a:lnTo>
                  <a:lnTo>
                    <a:pt x="2197" y="2040"/>
                  </a:lnTo>
                  <a:lnTo>
                    <a:pt x="2203" y="2035"/>
                  </a:lnTo>
                  <a:lnTo>
                    <a:pt x="2208" y="2031"/>
                  </a:lnTo>
                  <a:lnTo>
                    <a:pt x="2215" y="2028"/>
                  </a:lnTo>
                  <a:lnTo>
                    <a:pt x="2222" y="2025"/>
                  </a:lnTo>
                  <a:lnTo>
                    <a:pt x="2228" y="2024"/>
                  </a:lnTo>
                  <a:lnTo>
                    <a:pt x="2235" y="2022"/>
                  </a:lnTo>
                  <a:lnTo>
                    <a:pt x="2242" y="2021"/>
                  </a:lnTo>
                  <a:lnTo>
                    <a:pt x="2242" y="2021"/>
                  </a:lnTo>
                  <a:lnTo>
                    <a:pt x="2253" y="2022"/>
                  </a:lnTo>
                  <a:lnTo>
                    <a:pt x="2264" y="2026"/>
                  </a:lnTo>
                  <a:lnTo>
                    <a:pt x="2275" y="2030"/>
                  </a:lnTo>
                  <a:lnTo>
                    <a:pt x="2283" y="2036"/>
                  </a:lnTo>
                  <a:lnTo>
                    <a:pt x="2269" y="2089"/>
                  </a:lnTo>
                  <a:close/>
                  <a:moveTo>
                    <a:pt x="1836" y="2027"/>
                  </a:moveTo>
                  <a:lnTo>
                    <a:pt x="1891" y="2027"/>
                  </a:lnTo>
                  <a:lnTo>
                    <a:pt x="1828" y="2249"/>
                  </a:lnTo>
                  <a:lnTo>
                    <a:pt x="1780" y="2249"/>
                  </a:lnTo>
                  <a:lnTo>
                    <a:pt x="1756" y="2157"/>
                  </a:lnTo>
                  <a:lnTo>
                    <a:pt x="1756" y="2157"/>
                  </a:lnTo>
                  <a:lnTo>
                    <a:pt x="1744" y="2108"/>
                  </a:lnTo>
                  <a:lnTo>
                    <a:pt x="1744" y="2108"/>
                  </a:lnTo>
                  <a:lnTo>
                    <a:pt x="1738" y="2132"/>
                  </a:lnTo>
                  <a:lnTo>
                    <a:pt x="1732" y="2158"/>
                  </a:lnTo>
                  <a:lnTo>
                    <a:pt x="1707" y="2249"/>
                  </a:lnTo>
                  <a:lnTo>
                    <a:pt x="1660" y="2249"/>
                  </a:lnTo>
                  <a:lnTo>
                    <a:pt x="1659" y="2247"/>
                  </a:lnTo>
                  <a:lnTo>
                    <a:pt x="1597" y="2027"/>
                  </a:lnTo>
                  <a:lnTo>
                    <a:pt x="1653" y="2027"/>
                  </a:lnTo>
                  <a:lnTo>
                    <a:pt x="1674" y="2110"/>
                  </a:lnTo>
                  <a:lnTo>
                    <a:pt x="1674" y="2110"/>
                  </a:lnTo>
                  <a:lnTo>
                    <a:pt x="1680" y="2136"/>
                  </a:lnTo>
                  <a:lnTo>
                    <a:pt x="1685" y="2164"/>
                  </a:lnTo>
                  <a:lnTo>
                    <a:pt x="1685" y="2164"/>
                  </a:lnTo>
                  <a:lnTo>
                    <a:pt x="1691" y="2136"/>
                  </a:lnTo>
                  <a:lnTo>
                    <a:pt x="1699" y="2108"/>
                  </a:lnTo>
                  <a:lnTo>
                    <a:pt x="1722" y="2027"/>
                  </a:lnTo>
                  <a:lnTo>
                    <a:pt x="1768" y="2027"/>
                  </a:lnTo>
                  <a:lnTo>
                    <a:pt x="1791" y="2108"/>
                  </a:lnTo>
                  <a:lnTo>
                    <a:pt x="1791" y="2108"/>
                  </a:lnTo>
                  <a:lnTo>
                    <a:pt x="1798" y="2135"/>
                  </a:lnTo>
                  <a:lnTo>
                    <a:pt x="1804" y="2165"/>
                  </a:lnTo>
                  <a:lnTo>
                    <a:pt x="1804" y="2165"/>
                  </a:lnTo>
                  <a:lnTo>
                    <a:pt x="1810" y="2139"/>
                  </a:lnTo>
                  <a:lnTo>
                    <a:pt x="1817" y="2108"/>
                  </a:lnTo>
                  <a:lnTo>
                    <a:pt x="1836" y="2027"/>
                  </a:lnTo>
                  <a:close/>
                  <a:moveTo>
                    <a:pt x="2002" y="2021"/>
                  </a:moveTo>
                  <a:lnTo>
                    <a:pt x="2002" y="2021"/>
                  </a:lnTo>
                  <a:lnTo>
                    <a:pt x="1992" y="2022"/>
                  </a:lnTo>
                  <a:lnTo>
                    <a:pt x="1981" y="2024"/>
                  </a:lnTo>
                  <a:lnTo>
                    <a:pt x="1971" y="2027"/>
                  </a:lnTo>
                  <a:lnTo>
                    <a:pt x="1962" y="2030"/>
                  </a:lnTo>
                  <a:lnTo>
                    <a:pt x="1953" y="2035"/>
                  </a:lnTo>
                  <a:lnTo>
                    <a:pt x="1945" y="2041"/>
                  </a:lnTo>
                  <a:lnTo>
                    <a:pt x="1937" y="2047"/>
                  </a:lnTo>
                  <a:lnTo>
                    <a:pt x="1930" y="2054"/>
                  </a:lnTo>
                  <a:lnTo>
                    <a:pt x="1924" y="2062"/>
                  </a:lnTo>
                  <a:lnTo>
                    <a:pt x="1918" y="2071"/>
                  </a:lnTo>
                  <a:lnTo>
                    <a:pt x="1913" y="2081"/>
                  </a:lnTo>
                  <a:lnTo>
                    <a:pt x="1909" y="2091"/>
                  </a:lnTo>
                  <a:lnTo>
                    <a:pt x="1906" y="2102"/>
                  </a:lnTo>
                  <a:lnTo>
                    <a:pt x="1903" y="2114"/>
                  </a:lnTo>
                  <a:lnTo>
                    <a:pt x="1902" y="2125"/>
                  </a:lnTo>
                  <a:lnTo>
                    <a:pt x="1902" y="2138"/>
                  </a:lnTo>
                  <a:lnTo>
                    <a:pt x="1902" y="2138"/>
                  </a:lnTo>
                  <a:lnTo>
                    <a:pt x="1902" y="2150"/>
                  </a:lnTo>
                  <a:lnTo>
                    <a:pt x="1903" y="2163"/>
                  </a:lnTo>
                  <a:lnTo>
                    <a:pt x="1906" y="2174"/>
                  </a:lnTo>
                  <a:lnTo>
                    <a:pt x="1909" y="2185"/>
                  </a:lnTo>
                  <a:lnTo>
                    <a:pt x="1913" y="2194"/>
                  </a:lnTo>
                  <a:lnTo>
                    <a:pt x="1918" y="2204"/>
                  </a:lnTo>
                  <a:lnTo>
                    <a:pt x="1924" y="2213"/>
                  </a:lnTo>
                  <a:lnTo>
                    <a:pt x="1930" y="2221"/>
                  </a:lnTo>
                  <a:lnTo>
                    <a:pt x="1937" y="2229"/>
                  </a:lnTo>
                  <a:lnTo>
                    <a:pt x="1945" y="2235"/>
                  </a:lnTo>
                  <a:lnTo>
                    <a:pt x="1953" y="2241"/>
                  </a:lnTo>
                  <a:lnTo>
                    <a:pt x="1962" y="2245"/>
                  </a:lnTo>
                  <a:lnTo>
                    <a:pt x="1971" y="2249"/>
                  </a:lnTo>
                  <a:lnTo>
                    <a:pt x="1981" y="2252"/>
                  </a:lnTo>
                  <a:lnTo>
                    <a:pt x="1992" y="2253"/>
                  </a:lnTo>
                  <a:lnTo>
                    <a:pt x="2002" y="2254"/>
                  </a:lnTo>
                  <a:lnTo>
                    <a:pt x="2002" y="2254"/>
                  </a:lnTo>
                  <a:lnTo>
                    <a:pt x="2013" y="2253"/>
                  </a:lnTo>
                  <a:lnTo>
                    <a:pt x="2024" y="2252"/>
                  </a:lnTo>
                  <a:lnTo>
                    <a:pt x="2034" y="2249"/>
                  </a:lnTo>
                  <a:lnTo>
                    <a:pt x="2043" y="2245"/>
                  </a:lnTo>
                  <a:lnTo>
                    <a:pt x="2052" y="2241"/>
                  </a:lnTo>
                  <a:lnTo>
                    <a:pt x="2061" y="2235"/>
                  </a:lnTo>
                  <a:lnTo>
                    <a:pt x="2068" y="2229"/>
                  </a:lnTo>
                  <a:lnTo>
                    <a:pt x="2075" y="2221"/>
                  </a:lnTo>
                  <a:lnTo>
                    <a:pt x="2081" y="2213"/>
                  </a:lnTo>
                  <a:lnTo>
                    <a:pt x="2087" y="2204"/>
                  </a:lnTo>
                  <a:lnTo>
                    <a:pt x="2091" y="2194"/>
                  </a:lnTo>
                  <a:lnTo>
                    <a:pt x="2096" y="2185"/>
                  </a:lnTo>
                  <a:lnTo>
                    <a:pt x="2099" y="2174"/>
                  </a:lnTo>
                  <a:lnTo>
                    <a:pt x="2101" y="2163"/>
                  </a:lnTo>
                  <a:lnTo>
                    <a:pt x="2104" y="2150"/>
                  </a:lnTo>
                  <a:lnTo>
                    <a:pt x="2104" y="2138"/>
                  </a:lnTo>
                  <a:lnTo>
                    <a:pt x="2104" y="2138"/>
                  </a:lnTo>
                  <a:lnTo>
                    <a:pt x="2104" y="2125"/>
                  </a:lnTo>
                  <a:lnTo>
                    <a:pt x="2101" y="2114"/>
                  </a:lnTo>
                  <a:lnTo>
                    <a:pt x="2099" y="2102"/>
                  </a:lnTo>
                  <a:lnTo>
                    <a:pt x="2096" y="2091"/>
                  </a:lnTo>
                  <a:lnTo>
                    <a:pt x="2091" y="2081"/>
                  </a:lnTo>
                  <a:lnTo>
                    <a:pt x="2087" y="2071"/>
                  </a:lnTo>
                  <a:lnTo>
                    <a:pt x="2081" y="2062"/>
                  </a:lnTo>
                  <a:lnTo>
                    <a:pt x="2075" y="2054"/>
                  </a:lnTo>
                  <a:lnTo>
                    <a:pt x="2068" y="2047"/>
                  </a:lnTo>
                  <a:lnTo>
                    <a:pt x="2061" y="2041"/>
                  </a:lnTo>
                  <a:lnTo>
                    <a:pt x="2052" y="2035"/>
                  </a:lnTo>
                  <a:lnTo>
                    <a:pt x="2043" y="2030"/>
                  </a:lnTo>
                  <a:lnTo>
                    <a:pt x="2034" y="2027"/>
                  </a:lnTo>
                  <a:lnTo>
                    <a:pt x="2024" y="2024"/>
                  </a:lnTo>
                  <a:lnTo>
                    <a:pt x="2013" y="2022"/>
                  </a:lnTo>
                  <a:lnTo>
                    <a:pt x="2002" y="2021"/>
                  </a:lnTo>
                  <a:lnTo>
                    <a:pt x="2002" y="2021"/>
                  </a:lnTo>
                  <a:close/>
                  <a:moveTo>
                    <a:pt x="2002" y="2202"/>
                  </a:moveTo>
                  <a:lnTo>
                    <a:pt x="2002" y="2202"/>
                  </a:lnTo>
                  <a:lnTo>
                    <a:pt x="1992" y="2201"/>
                  </a:lnTo>
                  <a:lnTo>
                    <a:pt x="1984" y="2198"/>
                  </a:lnTo>
                  <a:lnTo>
                    <a:pt x="1977" y="2192"/>
                  </a:lnTo>
                  <a:lnTo>
                    <a:pt x="1970" y="2185"/>
                  </a:lnTo>
                  <a:lnTo>
                    <a:pt x="1964" y="2176"/>
                  </a:lnTo>
                  <a:lnTo>
                    <a:pt x="1960" y="2165"/>
                  </a:lnTo>
                  <a:lnTo>
                    <a:pt x="1958" y="2151"/>
                  </a:lnTo>
                  <a:lnTo>
                    <a:pt x="1958" y="2138"/>
                  </a:lnTo>
                  <a:lnTo>
                    <a:pt x="1958" y="2138"/>
                  </a:lnTo>
                  <a:lnTo>
                    <a:pt x="1958" y="2124"/>
                  </a:lnTo>
                  <a:lnTo>
                    <a:pt x="1960" y="2112"/>
                  </a:lnTo>
                  <a:lnTo>
                    <a:pt x="1964" y="2101"/>
                  </a:lnTo>
                  <a:lnTo>
                    <a:pt x="1970" y="2091"/>
                  </a:lnTo>
                  <a:lnTo>
                    <a:pt x="1977" y="2083"/>
                  </a:lnTo>
                  <a:lnTo>
                    <a:pt x="1984" y="2078"/>
                  </a:lnTo>
                  <a:lnTo>
                    <a:pt x="1992" y="2074"/>
                  </a:lnTo>
                  <a:lnTo>
                    <a:pt x="2002" y="2073"/>
                  </a:lnTo>
                  <a:lnTo>
                    <a:pt x="2002" y="2073"/>
                  </a:lnTo>
                  <a:lnTo>
                    <a:pt x="2012" y="2074"/>
                  </a:lnTo>
                  <a:lnTo>
                    <a:pt x="2021" y="2078"/>
                  </a:lnTo>
                  <a:lnTo>
                    <a:pt x="2029" y="2083"/>
                  </a:lnTo>
                  <a:lnTo>
                    <a:pt x="2035" y="2091"/>
                  </a:lnTo>
                  <a:lnTo>
                    <a:pt x="2041" y="2101"/>
                  </a:lnTo>
                  <a:lnTo>
                    <a:pt x="2044" y="2112"/>
                  </a:lnTo>
                  <a:lnTo>
                    <a:pt x="2046" y="2124"/>
                  </a:lnTo>
                  <a:lnTo>
                    <a:pt x="2047" y="2138"/>
                  </a:lnTo>
                  <a:lnTo>
                    <a:pt x="2047" y="2138"/>
                  </a:lnTo>
                  <a:lnTo>
                    <a:pt x="2046" y="2151"/>
                  </a:lnTo>
                  <a:lnTo>
                    <a:pt x="2044" y="2165"/>
                  </a:lnTo>
                  <a:lnTo>
                    <a:pt x="2041" y="2176"/>
                  </a:lnTo>
                  <a:lnTo>
                    <a:pt x="2035" y="2185"/>
                  </a:lnTo>
                  <a:lnTo>
                    <a:pt x="2029" y="2192"/>
                  </a:lnTo>
                  <a:lnTo>
                    <a:pt x="2021" y="2198"/>
                  </a:lnTo>
                  <a:lnTo>
                    <a:pt x="2012" y="2201"/>
                  </a:lnTo>
                  <a:lnTo>
                    <a:pt x="2002" y="2202"/>
                  </a:lnTo>
                  <a:lnTo>
                    <a:pt x="2002" y="2202"/>
                  </a:lnTo>
                  <a:close/>
                  <a:moveTo>
                    <a:pt x="837" y="2100"/>
                  </a:moveTo>
                  <a:lnTo>
                    <a:pt x="904" y="2249"/>
                  </a:lnTo>
                  <a:lnTo>
                    <a:pt x="843" y="2249"/>
                  </a:lnTo>
                  <a:lnTo>
                    <a:pt x="797" y="2146"/>
                  </a:lnTo>
                  <a:lnTo>
                    <a:pt x="767" y="2182"/>
                  </a:lnTo>
                  <a:lnTo>
                    <a:pt x="767" y="2249"/>
                  </a:lnTo>
                  <a:lnTo>
                    <a:pt x="713" y="2249"/>
                  </a:lnTo>
                  <a:lnTo>
                    <a:pt x="713" y="1962"/>
                  </a:lnTo>
                  <a:lnTo>
                    <a:pt x="767" y="1934"/>
                  </a:lnTo>
                  <a:lnTo>
                    <a:pt x="767" y="2112"/>
                  </a:lnTo>
                  <a:lnTo>
                    <a:pt x="767" y="2112"/>
                  </a:lnTo>
                  <a:lnTo>
                    <a:pt x="788" y="2083"/>
                  </a:lnTo>
                  <a:lnTo>
                    <a:pt x="832" y="2027"/>
                  </a:lnTo>
                  <a:lnTo>
                    <a:pt x="896" y="2027"/>
                  </a:lnTo>
                  <a:lnTo>
                    <a:pt x="837" y="2100"/>
                  </a:lnTo>
                  <a:close/>
                  <a:moveTo>
                    <a:pt x="1097" y="2249"/>
                  </a:moveTo>
                  <a:lnTo>
                    <a:pt x="1042" y="2249"/>
                  </a:lnTo>
                  <a:lnTo>
                    <a:pt x="1042" y="2027"/>
                  </a:lnTo>
                  <a:lnTo>
                    <a:pt x="1097" y="2027"/>
                  </a:lnTo>
                  <a:lnTo>
                    <a:pt x="1097" y="2046"/>
                  </a:lnTo>
                  <a:lnTo>
                    <a:pt x="1097" y="2046"/>
                  </a:lnTo>
                  <a:lnTo>
                    <a:pt x="1103" y="2040"/>
                  </a:lnTo>
                  <a:lnTo>
                    <a:pt x="1108" y="2036"/>
                  </a:lnTo>
                  <a:lnTo>
                    <a:pt x="1115" y="2031"/>
                  </a:lnTo>
                  <a:lnTo>
                    <a:pt x="1121" y="2028"/>
                  </a:lnTo>
                  <a:lnTo>
                    <a:pt x="1129" y="2026"/>
                  </a:lnTo>
                  <a:lnTo>
                    <a:pt x="1137" y="2024"/>
                  </a:lnTo>
                  <a:lnTo>
                    <a:pt x="1144" y="2022"/>
                  </a:lnTo>
                  <a:lnTo>
                    <a:pt x="1153" y="2021"/>
                  </a:lnTo>
                  <a:lnTo>
                    <a:pt x="1153" y="2021"/>
                  </a:lnTo>
                  <a:lnTo>
                    <a:pt x="1163" y="2022"/>
                  </a:lnTo>
                  <a:lnTo>
                    <a:pt x="1172" y="2024"/>
                  </a:lnTo>
                  <a:lnTo>
                    <a:pt x="1180" y="2026"/>
                  </a:lnTo>
                  <a:lnTo>
                    <a:pt x="1189" y="2028"/>
                  </a:lnTo>
                  <a:lnTo>
                    <a:pt x="1195" y="2032"/>
                  </a:lnTo>
                  <a:lnTo>
                    <a:pt x="1202" y="2037"/>
                  </a:lnTo>
                  <a:lnTo>
                    <a:pt x="1208" y="2041"/>
                  </a:lnTo>
                  <a:lnTo>
                    <a:pt x="1214" y="2048"/>
                  </a:lnTo>
                  <a:lnTo>
                    <a:pt x="1218" y="2054"/>
                  </a:lnTo>
                  <a:lnTo>
                    <a:pt x="1223" y="2062"/>
                  </a:lnTo>
                  <a:lnTo>
                    <a:pt x="1226" y="2070"/>
                  </a:lnTo>
                  <a:lnTo>
                    <a:pt x="1229" y="2080"/>
                  </a:lnTo>
                  <a:lnTo>
                    <a:pt x="1232" y="2090"/>
                  </a:lnTo>
                  <a:lnTo>
                    <a:pt x="1233" y="2100"/>
                  </a:lnTo>
                  <a:lnTo>
                    <a:pt x="1234" y="2111"/>
                  </a:lnTo>
                  <a:lnTo>
                    <a:pt x="1235" y="2123"/>
                  </a:lnTo>
                  <a:lnTo>
                    <a:pt x="1235" y="2249"/>
                  </a:lnTo>
                  <a:lnTo>
                    <a:pt x="1180" y="2249"/>
                  </a:lnTo>
                  <a:lnTo>
                    <a:pt x="1180" y="2126"/>
                  </a:lnTo>
                  <a:lnTo>
                    <a:pt x="1180" y="2126"/>
                  </a:lnTo>
                  <a:lnTo>
                    <a:pt x="1179" y="2114"/>
                  </a:lnTo>
                  <a:lnTo>
                    <a:pt x="1178" y="2102"/>
                  </a:lnTo>
                  <a:lnTo>
                    <a:pt x="1174" y="2093"/>
                  </a:lnTo>
                  <a:lnTo>
                    <a:pt x="1170" y="2085"/>
                  </a:lnTo>
                  <a:lnTo>
                    <a:pt x="1164" y="2080"/>
                  </a:lnTo>
                  <a:lnTo>
                    <a:pt x="1158" y="2075"/>
                  </a:lnTo>
                  <a:lnTo>
                    <a:pt x="1149" y="2073"/>
                  </a:lnTo>
                  <a:lnTo>
                    <a:pt x="1139" y="2072"/>
                  </a:lnTo>
                  <a:lnTo>
                    <a:pt x="1139" y="2072"/>
                  </a:lnTo>
                  <a:lnTo>
                    <a:pt x="1130" y="2073"/>
                  </a:lnTo>
                  <a:lnTo>
                    <a:pt x="1121" y="2075"/>
                  </a:lnTo>
                  <a:lnTo>
                    <a:pt x="1114" y="2080"/>
                  </a:lnTo>
                  <a:lnTo>
                    <a:pt x="1108" y="2086"/>
                  </a:lnTo>
                  <a:lnTo>
                    <a:pt x="1104" y="2093"/>
                  </a:lnTo>
                  <a:lnTo>
                    <a:pt x="1100" y="2103"/>
                  </a:lnTo>
                  <a:lnTo>
                    <a:pt x="1098" y="2114"/>
                  </a:lnTo>
                  <a:lnTo>
                    <a:pt x="1097" y="2126"/>
                  </a:lnTo>
                  <a:lnTo>
                    <a:pt x="1097" y="2249"/>
                  </a:lnTo>
                  <a:close/>
                  <a:moveTo>
                    <a:pt x="1408" y="2042"/>
                  </a:moveTo>
                  <a:lnTo>
                    <a:pt x="1408" y="2042"/>
                  </a:lnTo>
                  <a:lnTo>
                    <a:pt x="1403" y="2038"/>
                  </a:lnTo>
                  <a:lnTo>
                    <a:pt x="1397" y="2033"/>
                  </a:lnTo>
                  <a:lnTo>
                    <a:pt x="1392" y="2030"/>
                  </a:lnTo>
                  <a:lnTo>
                    <a:pt x="1385" y="2027"/>
                  </a:lnTo>
                  <a:lnTo>
                    <a:pt x="1378" y="2025"/>
                  </a:lnTo>
                  <a:lnTo>
                    <a:pt x="1372" y="2024"/>
                  </a:lnTo>
                  <a:lnTo>
                    <a:pt x="1365" y="2022"/>
                  </a:lnTo>
                  <a:lnTo>
                    <a:pt x="1359" y="2021"/>
                  </a:lnTo>
                  <a:lnTo>
                    <a:pt x="1359" y="2021"/>
                  </a:lnTo>
                  <a:lnTo>
                    <a:pt x="1349" y="2022"/>
                  </a:lnTo>
                  <a:lnTo>
                    <a:pt x="1340" y="2024"/>
                  </a:lnTo>
                  <a:lnTo>
                    <a:pt x="1331" y="2026"/>
                  </a:lnTo>
                  <a:lnTo>
                    <a:pt x="1322" y="2030"/>
                  </a:lnTo>
                  <a:lnTo>
                    <a:pt x="1314" y="2033"/>
                  </a:lnTo>
                  <a:lnTo>
                    <a:pt x="1308" y="2039"/>
                  </a:lnTo>
                  <a:lnTo>
                    <a:pt x="1301" y="2046"/>
                  </a:lnTo>
                  <a:lnTo>
                    <a:pt x="1295" y="2052"/>
                  </a:lnTo>
                  <a:lnTo>
                    <a:pt x="1289" y="2060"/>
                  </a:lnTo>
                  <a:lnTo>
                    <a:pt x="1285" y="2069"/>
                  </a:lnTo>
                  <a:lnTo>
                    <a:pt x="1280" y="2078"/>
                  </a:lnTo>
                  <a:lnTo>
                    <a:pt x="1277" y="2089"/>
                  </a:lnTo>
                  <a:lnTo>
                    <a:pt x="1275" y="2099"/>
                  </a:lnTo>
                  <a:lnTo>
                    <a:pt x="1273" y="2111"/>
                  </a:lnTo>
                  <a:lnTo>
                    <a:pt x="1271" y="2123"/>
                  </a:lnTo>
                  <a:lnTo>
                    <a:pt x="1271" y="2135"/>
                  </a:lnTo>
                  <a:lnTo>
                    <a:pt x="1271" y="2135"/>
                  </a:lnTo>
                  <a:lnTo>
                    <a:pt x="1271" y="2149"/>
                  </a:lnTo>
                  <a:lnTo>
                    <a:pt x="1273" y="2161"/>
                  </a:lnTo>
                  <a:lnTo>
                    <a:pt x="1275" y="2174"/>
                  </a:lnTo>
                  <a:lnTo>
                    <a:pt x="1277" y="2186"/>
                  </a:lnTo>
                  <a:lnTo>
                    <a:pt x="1280" y="2196"/>
                  </a:lnTo>
                  <a:lnTo>
                    <a:pt x="1285" y="2206"/>
                  </a:lnTo>
                  <a:lnTo>
                    <a:pt x="1289" y="2214"/>
                  </a:lnTo>
                  <a:lnTo>
                    <a:pt x="1295" y="2222"/>
                  </a:lnTo>
                  <a:lnTo>
                    <a:pt x="1300" y="2230"/>
                  </a:lnTo>
                  <a:lnTo>
                    <a:pt x="1307" y="2235"/>
                  </a:lnTo>
                  <a:lnTo>
                    <a:pt x="1313" y="2241"/>
                  </a:lnTo>
                  <a:lnTo>
                    <a:pt x="1321" y="2245"/>
                  </a:lnTo>
                  <a:lnTo>
                    <a:pt x="1330" y="2249"/>
                  </a:lnTo>
                  <a:lnTo>
                    <a:pt x="1339" y="2252"/>
                  </a:lnTo>
                  <a:lnTo>
                    <a:pt x="1348" y="2253"/>
                  </a:lnTo>
                  <a:lnTo>
                    <a:pt x="1357" y="2254"/>
                  </a:lnTo>
                  <a:lnTo>
                    <a:pt x="1357" y="2254"/>
                  </a:lnTo>
                  <a:lnTo>
                    <a:pt x="1364" y="2253"/>
                  </a:lnTo>
                  <a:lnTo>
                    <a:pt x="1372" y="2252"/>
                  </a:lnTo>
                  <a:lnTo>
                    <a:pt x="1378" y="2251"/>
                  </a:lnTo>
                  <a:lnTo>
                    <a:pt x="1385" y="2249"/>
                  </a:lnTo>
                  <a:lnTo>
                    <a:pt x="1391" y="2245"/>
                  </a:lnTo>
                  <a:lnTo>
                    <a:pt x="1397" y="2242"/>
                  </a:lnTo>
                  <a:lnTo>
                    <a:pt x="1403" y="2238"/>
                  </a:lnTo>
                  <a:lnTo>
                    <a:pt x="1408" y="2232"/>
                  </a:lnTo>
                  <a:lnTo>
                    <a:pt x="1408" y="2238"/>
                  </a:lnTo>
                  <a:lnTo>
                    <a:pt x="1408" y="2238"/>
                  </a:lnTo>
                  <a:lnTo>
                    <a:pt x="1408" y="2246"/>
                  </a:lnTo>
                  <a:lnTo>
                    <a:pt x="1407" y="2256"/>
                  </a:lnTo>
                  <a:lnTo>
                    <a:pt x="1404" y="2266"/>
                  </a:lnTo>
                  <a:lnTo>
                    <a:pt x="1402" y="2271"/>
                  </a:lnTo>
                  <a:lnTo>
                    <a:pt x="1399" y="2275"/>
                  </a:lnTo>
                  <a:lnTo>
                    <a:pt x="1395" y="2279"/>
                  </a:lnTo>
                  <a:lnTo>
                    <a:pt x="1391" y="2284"/>
                  </a:lnTo>
                  <a:lnTo>
                    <a:pt x="1385" y="2287"/>
                  </a:lnTo>
                  <a:lnTo>
                    <a:pt x="1378" y="2290"/>
                  </a:lnTo>
                  <a:lnTo>
                    <a:pt x="1370" y="2293"/>
                  </a:lnTo>
                  <a:lnTo>
                    <a:pt x="1361" y="2295"/>
                  </a:lnTo>
                  <a:lnTo>
                    <a:pt x="1350" y="2296"/>
                  </a:lnTo>
                  <a:lnTo>
                    <a:pt x="1337" y="2296"/>
                  </a:lnTo>
                  <a:lnTo>
                    <a:pt x="1334" y="2296"/>
                  </a:lnTo>
                  <a:lnTo>
                    <a:pt x="1354" y="2339"/>
                  </a:lnTo>
                  <a:lnTo>
                    <a:pt x="1355" y="2339"/>
                  </a:lnTo>
                  <a:lnTo>
                    <a:pt x="1355" y="2339"/>
                  </a:lnTo>
                  <a:lnTo>
                    <a:pt x="1369" y="2339"/>
                  </a:lnTo>
                  <a:lnTo>
                    <a:pt x="1381" y="2338"/>
                  </a:lnTo>
                  <a:lnTo>
                    <a:pt x="1392" y="2335"/>
                  </a:lnTo>
                  <a:lnTo>
                    <a:pt x="1403" y="2332"/>
                  </a:lnTo>
                  <a:lnTo>
                    <a:pt x="1413" y="2328"/>
                  </a:lnTo>
                  <a:lnTo>
                    <a:pt x="1421" y="2324"/>
                  </a:lnTo>
                  <a:lnTo>
                    <a:pt x="1429" y="2318"/>
                  </a:lnTo>
                  <a:lnTo>
                    <a:pt x="1436" y="2311"/>
                  </a:lnTo>
                  <a:lnTo>
                    <a:pt x="1442" y="2304"/>
                  </a:lnTo>
                  <a:lnTo>
                    <a:pt x="1448" y="2296"/>
                  </a:lnTo>
                  <a:lnTo>
                    <a:pt x="1452" y="2286"/>
                  </a:lnTo>
                  <a:lnTo>
                    <a:pt x="1456" y="2276"/>
                  </a:lnTo>
                  <a:lnTo>
                    <a:pt x="1459" y="2266"/>
                  </a:lnTo>
                  <a:lnTo>
                    <a:pt x="1461" y="2254"/>
                  </a:lnTo>
                  <a:lnTo>
                    <a:pt x="1462" y="2242"/>
                  </a:lnTo>
                  <a:lnTo>
                    <a:pt x="1462" y="2229"/>
                  </a:lnTo>
                  <a:lnTo>
                    <a:pt x="1462" y="2027"/>
                  </a:lnTo>
                  <a:lnTo>
                    <a:pt x="1408" y="2027"/>
                  </a:lnTo>
                  <a:lnTo>
                    <a:pt x="1408" y="2042"/>
                  </a:lnTo>
                  <a:close/>
                  <a:moveTo>
                    <a:pt x="1408" y="2094"/>
                  </a:moveTo>
                  <a:lnTo>
                    <a:pt x="1408" y="2181"/>
                  </a:lnTo>
                  <a:lnTo>
                    <a:pt x="1408" y="2181"/>
                  </a:lnTo>
                  <a:lnTo>
                    <a:pt x="1401" y="2189"/>
                  </a:lnTo>
                  <a:lnTo>
                    <a:pt x="1393" y="2197"/>
                  </a:lnTo>
                  <a:lnTo>
                    <a:pt x="1387" y="2199"/>
                  </a:lnTo>
                  <a:lnTo>
                    <a:pt x="1382" y="2201"/>
                  </a:lnTo>
                  <a:lnTo>
                    <a:pt x="1376" y="2202"/>
                  </a:lnTo>
                  <a:lnTo>
                    <a:pt x="1369" y="2203"/>
                  </a:lnTo>
                  <a:lnTo>
                    <a:pt x="1369" y="2203"/>
                  </a:lnTo>
                  <a:lnTo>
                    <a:pt x="1362" y="2202"/>
                  </a:lnTo>
                  <a:lnTo>
                    <a:pt x="1354" y="2200"/>
                  </a:lnTo>
                  <a:lnTo>
                    <a:pt x="1348" y="2197"/>
                  </a:lnTo>
                  <a:lnTo>
                    <a:pt x="1341" y="2190"/>
                  </a:lnTo>
                  <a:lnTo>
                    <a:pt x="1335" y="2181"/>
                  </a:lnTo>
                  <a:lnTo>
                    <a:pt x="1331" y="2169"/>
                  </a:lnTo>
                  <a:lnTo>
                    <a:pt x="1329" y="2154"/>
                  </a:lnTo>
                  <a:lnTo>
                    <a:pt x="1328" y="2134"/>
                  </a:lnTo>
                  <a:lnTo>
                    <a:pt x="1328" y="2134"/>
                  </a:lnTo>
                  <a:lnTo>
                    <a:pt x="1329" y="2117"/>
                  </a:lnTo>
                  <a:lnTo>
                    <a:pt x="1331" y="2103"/>
                  </a:lnTo>
                  <a:lnTo>
                    <a:pt x="1335" y="2092"/>
                  </a:lnTo>
                  <a:lnTo>
                    <a:pt x="1341" y="2084"/>
                  </a:lnTo>
                  <a:lnTo>
                    <a:pt x="1348" y="2079"/>
                  </a:lnTo>
                  <a:lnTo>
                    <a:pt x="1354" y="2074"/>
                  </a:lnTo>
                  <a:lnTo>
                    <a:pt x="1362" y="2073"/>
                  </a:lnTo>
                  <a:lnTo>
                    <a:pt x="1369" y="2072"/>
                  </a:lnTo>
                  <a:lnTo>
                    <a:pt x="1369" y="2072"/>
                  </a:lnTo>
                  <a:lnTo>
                    <a:pt x="1376" y="2073"/>
                  </a:lnTo>
                  <a:lnTo>
                    <a:pt x="1383" y="2074"/>
                  </a:lnTo>
                  <a:lnTo>
                    <a:pt x="1388" y="2076"/>
                  </a:lnTo>
                  <a:lnTo>
                    <a:pt x="1394" y="2080"/>
                  </a:lnTo>
                  <a:lnTo>
                    <a:pt x="1398" y="2083"/>
                  </a:lnTo>
                  <a:lnTo>
                    <a:pt x="1402" y="2086"/>
                  </a:lnTo>
                  <a:lnTo>
                    <a:pt x="1408" y="2094"/>
                  </a:lnTo>
                  <a:lnTo>
                    <a:pt x="1408" y="2094"/>
                  </a:lnTo>
                  <a:close/>
                  <a:moveTo>
                    <a:pt x="938" y="2027"/>
                  </a:moveTo>
                  <a:lnTo>
                    <a:pt x="993" y="2027"/>
                  </a:lnTo>
                  <a:lnTo>
                    <a:pt x="993" y="2123"/>
                  </a:lnTo>
                  <a:lnTo>
                    <a:pt x="993" y="2249"/>
                  </a:lnTo>
                  <a:lnTo>
                    <a:pt x="938" y="2249"/>
                  </a:lnTo>
                  <a:lnTo>
                    <a:pt x="938" y="2027"/>
                  </a:lnTo>
                  <a:close/>
                  <a:moveTo>
                    <a:pt x="993" y="1967"/>
                  </a:moveTo>
                  <a:lnTo>
                    <a:pt x="993" y="1995"/>
                  </a:lnTo>
                  <a:lnTo>
                    <a:pt x="938" y="1995"/>
                  </a:lnTo>
                  <a:lnTo>
                    <a:pt x="938" y="1940"/>
                  </a:lnTo>
                  <a:lnTo>
                    <a:pt x="993" y="1940"/>
                  </a:lnTo>
                  <a:lnTo>
                    <a:pt x="993" y="1967"/>
                  </a:lnTo>
                  <a:close/>
                  <a:moveTo>
                    <a:pt x="2309" y="1962"/>
                  </a:moveTo>
                  <a:lnTo>
                    <a:pt x="2364" y="1934"/>
                  </a:lnTo>
                  <a:lnTo>
                    <a:pt x="2364" y="2127"/>
                  </a:lnTo>
                  <a:lnTo>
                    <a:pt x="2364" y="2249"/>
                  </a:lnTo>
                  <a:lnTo>
                    <a:pt x="2309" y="2249"/>
                  </a:lnTo>
                  <a:lnTo>
                    <a:pt x="2309" y="1962"/>
                  </a:lnTo>
                  <a:close/>
                  <a:moveTo>
                    <a:pt x="397" y="757"/>
                  </a:moveTo>
                  <a:lnTo>
                    <a:pt x="850" y="757"/>
                  </a:lnTo>
                  <a:lnTo>
                    <a:pt x="850" y="495"/>
                  </a:lnTo>
                  <a:lnTo>
                    <a:pt x="397" y="495"/>
                  </a:lnTo>
                  <a:lnTo>
                    <a:pt x="397" y="288"/>
                  </a:lnTo>
                  <a:lnTo>
                    <a:pt x="898" y="288"/>
                  </a:lnTo>
                  <a:lnTo>
                    <a:pt x="732" y="0"/>
                  </a:lnTo>
                  <a:lnTo>
                    <a:pt x="22" y="0"/>
                  </a:lnTo>
                  <a:lnTo>
                    <a:pt x="22" y="1251"/>
                  </a:lnTo>
                  <a:lnTo>
                    <a:pt x="1023" y="1251"/>
                  </a:lnTo>
                  <a:lnTo>
                    <a:pt x="1023" y="963"/>
                  </a:lnTo>
                  <a:lnTo>
                    <a:pt x="397" y="963"/>
                  </a:lnTo>
                  <a:lnTo>
                    <a:pt x="397" y="757"/>
                  </a:lnTo>
                  <a:close/>
                  <a:moveTo>
                    <a:pt x="1690" y="0"/>
                  </a:moveTo>
                  <a:lnTo>
                    <a:pt x="1477" y="409"/>
                  </a:lnTo>
                  <a:lnTo>
                    <a:pt x="1265" y="0"/>
                  </a:lnTo>
                  <a:lnTo>
                    <a:pt x="850" y="0"/>
                  </a:lnTo>
                  <a:lnTo>
                    <a:pt x="1287" y="757"/>
                  </a:lnTo>
                  <a:lnTo>
                    <a:pt x="1287" y="1251"/>
                  </a:lnTo>
                  <a:lnTo>
                    <a:pt x="1661" y="1251"/>
                  </a:lnTo>
                  <a:lnTo>
                    <a:pt x="1661" y="757"/>
                  </a:lnTo>
                  <a:lnTo>
                    <a:pt x="2099" y="0"/>
                  </a:lnTo>
                  <a:lnTo>
                    <a:pt x="169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</p:spTree>
    <p:extLst>
      <p:ext uri="{BB962C8B-B14F-4D97-AF65-F5344CB8AC3E}">
        <p14:creationId xmlns:p14="http://schemas.microsoft.com/office/powerpoint/2010/main" val="40112781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2" name="Line 10">
            <a:extLst>
              <a:ext uri="{FF2B5EF4-FFF2-40B4-BE49-F238E27FC236}">
                <a16:creationId xmlns:a16="http://schemas.microsoft.com/office/drawing/2014/main" id="{DA9741B6-D337-4A18-8ECB-FB21A6953E44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356C28-34FC-48BD-943E-82B485EB0C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69FE1-2141-4E78-8B01-84E57EEFE0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63E5D-D4D4-47A0-B3D2-9C348E301267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4482B3-B946-42D6-98EA-72EE48EEB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72DD5AC-66F0-425C-A9DE-048451319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560033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tandard slide</a:t>
            </a:r>
            <a:endParaRPr lang="en-GB" dirty="0"/>
          </a:p>
        </p:txBody>
      </p:sp>
      <p:sp>
        <p:nvSpPr>
          <p:cNvPr id="80" name="Line 10">
            <a:extLst>
              <a:ext uri="{FF2B5EF4-FFF2-40B4-BE49-F238E27FC236}">
                <a16:creationId xmlns:a16="http://schemas.microsoft.com/office/drawing/2014/main" id="{EF8E9275-C0E0-4ABA-8699-73E5E292EC85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BD5E823-546D-4100-9D33-42F450A382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9E02A-78D6-48B7-A389-464ED573BA5D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EEA008-3E80-49A8-A128-C1EEB8A02F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192330-2E70-49F4-A5DA-F82320E70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5702966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94852" y="1"/>
            <a:ext cx="3997149" cy="6156104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7440547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1" y="1137921"/>
            <a:ext cx="7295842" cy="873760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609601" y="2311401"/>
            <a:ext cx="3578253" cy="384470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327190" y="2311402"/>
            <a:ext cx="3578253" cy="1254759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327190" y="4236721"/>
            <a:ext cx="3578253" cy="1944160"/>
          </a:xfrm>
        </p:spPr>
        <p:txBody>
          <a:bodyPr numCol="1"/>
          <a:lstStyle>
            <a:lvl1pPr marL="0" indent="0">
              <a:buNone/>
              <a:defRPr sz="179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23" name="Line 10">
            <a:extLst>
              <a:ext uri="{FF2B5EF4-FFF2-40B4-BE49-F238E27FC236}">
                <a16:creationId xmlns:a16="http://schemas.microsoft.com/office/drawing/2014/main" id="{E820DC59-E206-4DC0-9012-584F8EBAF730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7719833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73C7F4-1F66-48B4-8A7F-96C64986A20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E49E8CE-5235-4494-B0FD-9ECC8206E96E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28F1198-1F5C-4C8B-A7E4-2658430FBCF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EA2D1B-5973-42E9-87B4-02C40C0EF1B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29980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80593A0-4211-460E-B6CF-FE2D9CE6D9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2383219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3891" y="294200"/>
            <a:ext cx="8887371" cy="590400"/>
          </a:xfrm>
        </p:spPr>
        <p:txBody>
          <a:bodyPr/>
          <a:lstStyle>
            <a:lvl1pPr>
              <a:defRPr sz="2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3890" y="1137921"/>
            <a:ext cx="2741454" cy="5018184"/>
          </a:xfrm>
        </p:spPr>
        <p:txBody>
          <a:bodyPr/>
          <a:lstStyle>
            <a:lvl1pPr marL="0" indent="0">
              <a:buNone/>
              <a:defRPr sz="17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724102" y="1137921"/>
            <a:ext cx="2802382" cy="5018184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8815241" y="1137922"/>
            <a:ext cx="2767159" cy="2796151"/>
          </a:xfrm>
        </p:spPr>
        <p:txBody>
          <a:bodyPr numCol="1"/>
          <a:lstStyle>
            <a:lvl1pPr marL="0" indent="0">
              <a:buNone/>
              <a:defRPr sz="1399">
                <a:solidFill>
                  <a:schemeClr val="bg1"/>
                </a:solidFill>
              </a:defRPr>
            </a:lvl1pPr>
            <a:lvl2pPr marL="356438" indent="0">
              <a:buNone/>
              <a:defRPr sz="1799">
                <a:solidFill>
                  <a:schemeClr val="bg1"/>
                </a:solidFill>
              </a:defRPr>
            </a:lvl2pPr>
            <a:lvl3pPr marL="712875" indent="0">
              <a:buNone/>
              <a:defRPr sz="1599">
                <a:solidFill>
                  <a:schemeClr val="bg1"/>
                </a:solidFill>
              </a:defRPr>
            </a:lvl3pPr>
            <a:lvl4pPr marL="1069313" indent="0">
              <a:buNone/>
              <a:defRPr sz="1399">
                <a:solidFill>
                  <a:schemeClr val="bg1"/>
                </a:solidFill>
              </a:defRPr>
            </a:lvl4pPr>
            <a:lvl5pPr marL="1425751" indent="0"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B63A7CBA-3151-452E-BD2F-D3E65CE15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2693891" y="907750"/>
            <a:ext cx="8887371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8571DE-086F-444C-976E-D386CED54CF9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CFB1ADCF-7548-48F2-B4E3-18B2C0EE8460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178D09-F6E9-4981-B6E0-209D099207E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AE170B6-45D3-4E0A-A799-1F973EAAC5E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7381557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79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5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39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9" name="Line 10">
            <a:extLst>
              <a:ext uri="{FF2B5EF4-FFF2-40B4-BE49-F238E27FC236}">
                <a16:creationId xmlns:a16="http://schemas.microsoft.com/office/drawing/2014/main" id="{CF130104-FAF2-4309-9701-573F3774313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54617-5A1F-4D8E-8075-F2918D0E9D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6D130-B426-4A46-85E5-B0049A4DA5C7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AB026-E283-44F4-8795-984385684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3657FA-64A4-4818-8A20-F1ACA6AC59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2352965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00C2D9D-B0D7-494E-9184-FCD6E94AACE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A95EDC0-9791-477B-BA1D-1692FE9BFBAA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7FD91A-AB40-450B-8784-9A5D99C62D8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2CE5F90-7113-4FA1-AFCF-3BC8EF01000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31120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2616" y="2851522"/>
            <a:ext cx="4445485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3598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356438" marR="0" lvl="0" indent="-356438" defTabSz="100738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C87A56-4269-4E89-A9DC-9C8F44424A9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BBFBFE83-FB75-47BB-81F0-F0FF13E5BA5A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FA45C8-6E1A-407F-B671-050EFF08143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1A593FC-3F10-4238-9F6D-C447302109D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58010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01D1C0-25FD-48B9-A85A-A010B4650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370" imgH="371" progId="TCLayout.ActiveDocument.1">
                  <p:embed/>
                </p:oleObj>
              </mc:Choice>
              <mc:Fallback>
                <p:oleObj name="think-cell Slide" r:id="rId5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01D1C0-25FD-48B9-A85A-A010B4650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1F3703-D594-4EDE-8FF6-59EC42C0A3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>
          <a:xfrm>
            <a:off x="513775" y="234865"/>
            <a:ext cx="11462795" cy="31402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s-ES_tradnl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EA173D3-339C-4414-863E-DAFC27F43E6A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968E1EF-8D18-4F86-B229-FCE1D49CDC25}"/>
              </a:ext>
            </a:extLst>
          </p:cNvPr>
          <p:cNvGrpSpPr/>
          <p:nvPr userDrawn="1"/>
        </p:nvGrpSpPr>
        <p:grpSpPr>
          <a:xfrm>
            <a:off x="11641748" y="5937613"/>
            <a:ext cx="352655" cy="578506"/>
            <a:chOff x="11280404" y="5712815"/>
            <a:chExt cx="401267" cy="65825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366988C-550C-4BC0-B8F8-8CB0CC90CD8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12" t="7740" r="15512" b="27025"/>
            <a:stretch/>
          </p:blipFill>
          <p:spPr>
            <a:xfrm>
              <a:off x="11283430" y="5712815"/>
              <a:ext cx="395214" cy="501077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0B6082E-D69E-43CF-AD9E-DC335CB0FC1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01" t="73849" r="15188" b="8200"/>
            <a:stretch/>
          </p:blipFill>
          <p:spPr>
            <a:xfrm>
              <a:off x="11280404" y="6230739"/>
              <a:ext cx="401267" cy="140334"/>
            </a:xfrm>
            <a:prstGeom prst="rect">
              <a:avLst/>
            </a:prstGeom>
          </p:spPr>
        </p:pic>
      </p:grpSp>
      <p:sp>
        <p:nvSpPr>
          <p:cNvPr id="10" name="SlideLogoText" hidden="1">
            <a:extLst>
              <a:ext uri="{FF2B5EF4-FFF2-40B4-BE49-F238E27FC236}">
                <a16:creationId xmlns:a16="http://schemas.microsoft.com/office/drawing/2014/main" id="{D8E794EC-C209-41CD-855A-9BDFF5D58781}"/>
              </a:ext>
            </a:extLst>
          </p:cNvPr>
          <p:cNvSpPr txBox="1"/>
          <p:nvPr userDrawn="1"/>
        </p:nvSpPr>
        <p:spPr>
          <a:xfrm>
            <a:off x="10490964" y="6641683"/>
            <a:ext cx="1050047" cy="128097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r>
              <a:rPr lang="en-GB" sz="816">
                <a:solidFill>
                  <a:schemeClr val="accent6"/>
                </a:solidFill>
              </a:rPr>
              <a:t>McKinsey &amp; Company</a:t>
            </a:r>
          </a:p>
        </p:txBody>
      </p:sp>
    </p:spTree>
    <p:extLst>
      <p:ext uri="{BB962C8B-B14F-4D97-AF65-F5344CB8AC3E}">
        <p14:creationId xmlns:p14="http://schemas.microsoft.com/office/powerpoint/2010/main" val="81008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7394">
          <p15:clr>
            <a:srgbClr val="F26B43"/>
          </p15:clr>
        </p15:guide>
        <p15:guide id="2" pos="316">
          <p15:clr>
            <a:srgbClr val="F26B43"/>
          </p15:clr>
        </p15:guide>
        <p15:guide id="3" orient="horz" pos="341">
          <p15:clr>
            <a:srgbClr val="F26B43"/>
          </p15:clr>
        </p15:guide>
        <p15:guide id="4" orient="horz" pos="4019">
          <p15:clr>
            <a:srgbClr val="F26B43"/>
          </p15:clr>
        </p15:guide>
        <p15:guide id="5" orient="horz" pos="3674">
          <p15:clr>
            <a:srgbClr val="F26B43"/>
          </p15:clr>
        </p15:guide>
        <p15:guide id="6" pos="7181">
          <p15:clr>
            <a:srgbClr val="F26B43"/>
          </p15:clr>
        </p15:guide>
        <p15:guide id="7" pos="157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1">
            <a:extLst>
              <a:ext uri="{FF2B5EF4-FFF2-40B4-BE49-F238E27FC236}">
                <a16:creationId xmlns:a16="http://schemas.microsoft.com/office/drawing/2014/main" id="{8F291EB0-15F5-4E9A-A38B-CE3AC1452E21}"/>
              </a:ext>
            </a:extLst>
          </p:cNvPr>
          <p:cNvSpPr txBox="1">
            <a:spLocks/>
          </p:cNvSpPr>
          <p:nvPr/>
        </p:nvSpPr>
        <p:spPr>
          <a:xfrm>
            <a:off x="477102" y="1488927"/>
            <a:ext cx="2337171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5D2AC0-B4F7-4455-9AE0-201966050A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3083" y="2526765"/>
            <a:ext cx="5289245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1BA83A2-78F0-4F7E-836B-9B4B87820F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13083" y="4632765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34CE9DD-CE12-4D9F-8FD6-A2522F36C8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3083" y="4971442"/>
            <a:ext cx="5289245" cy="316838"/>
          </a:xfrm>
        </p:spPr>
        <p:txBody>
          <a:bodyPr lIns="90000" tIns="46800" rIns="90000" bIns="46800"/>
          <a:lstStyle>
            <a:lvl1pPr marL="0" indent="0" algn="l" defTabSz="91394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599" kern="1200" dirty="0" smtClean="0">
                <a:solidFill>
                  <a:srgbClr val="2E2E38"/>
                </a:solidFill>
                <a:latin typeface="+mn-lt"/>
                <a:ea typeface="+mn-ea"/>
                <a:cs typeface="+mn-cs"/>
              </a:defRPr>
            </a:lvl1pPr>
            <a:lvl2pPr marL="356438" indent="0">
              <a:buNone/>
              <a:defRPr lang="en-US" sz="1999" smtClean="0">
                <a:latin typeface="+mn-lt"/>
              </a:defRPr>
            </a:lvl2pPr>
            <a:lvl3pPr>
              <a:defRPr lang="en-US" sz="1799" smtClean="0">
                <a:latin typeface="+mn-lt"/>
              </a:defRPr>
            </a:lvl3pPr>
            <a:lvl4pPr>
              <a:defRPr lang="en-US" sz="1599" smtClean="0">
                <a:latin typeface="+mn-lt"/>
              </a:defRPr>
            </a:lvl4pPr>
            <a:lvl5pPr>
              <a:defRPr lang="en-IN" sz="1599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02575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E28D7EA5-A532-4D8B-9984-8F3D1FEA98D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51378" y="2060235"/>
            <a:ext cx="5289245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799" dirty="0" smtClean="0">
                <a:latin typeface="Georgia" panose="02040502050405020303" pitchFamily="18" charset="0"/>
              </a:defRPr>
            </a:lvl1pPr>
          </a:lstStyle>
          <a:p>
            <a:pPr marL="356438" lvl="0" indent="-356438" algn="ctr">
              <a:spcBef>
                <a:spcPts val="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9F9B9C3C-16F2-40B2-A460-0480520ECF8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51378" y="5506678"/>
            <a:ext cx="5289245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04541C-CC5D-4455-8271-73223AE0A88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51378" y="5818717"/>
            <a:ext cx="5289245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599" dirty="0" smtClean="0">
                <a:solidFill>
                  <a:srgbClr val="2E2E38"/>
                </a:solidFill>
                <a:latin typeface="+mn-lt"/>
              </a:defRPr>
            </a:lvl1pPr>
          </a:lstStyle>
          <a:p>
            <a:pPr marL="356438" lvl="0" indent="-356438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FBD672D3-B116-471A-8511-D80D5D920D93}"/>
              </a:ext>
            </a:extLst>
          </p:cNvPr>
          <p:cNvSpPr txBox="1">
            <a:spLocks/>
          </p:cNvSpPr>
          <p:nvPr/>
        </p:nvSpPr>
        <p:spPr>
          <a:xfrm>
            <a:off x="4927415" y="979788"/>
            <a:ext cx="2337171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194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29426005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23938" y="0"/>
            <a:ext cx="5968062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IN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9513" y="2578743"/>
            <a:ext cx="4535597" cy="1055708"/>
          </a:xfrm>
        </p:spPr>
        <p:txBody>
          <a:bodyPr/>
          <a:lstStyle>
            <a:lvl1pPr marL="0" indent="0">
              <a:buNone/>
              <a:defRPr sz="299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9513" y="3840384"/>
            <a:ext cx="4535597" cy="1055708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3EABBDA-A77F-45A2-9996-90CD0EE5C38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1057AB47-DE48-402E-B5B7-CB9A0D0B7D44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883B36-3BA3-42B4-A811-65C0AF01A86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9D9C98C-F30E-45BC-A1D9-67DB57119D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90441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137921"/>
            <a:ext cx="4954924" cy="4267457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IN" dirty="0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29748" y="3813288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29748" y="4055931"/>
            <a:ext cx="3087667" cy="180000"/>
          </a:xfrm>
        </p:spPr>
        <p:txBody>
          <a:bodyPr/>
          <a:lstStyle>
            <a:lvl1pPr marL="0" indent="0">
              <a:buNone/>
              <a:defRPr sz="1199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19820" y="3578084"/>
            <a:ext cx="778554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19821" y="1137921"/>
            <a:ext cx="5462580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19821" y="1635009"/>
            <a:ext cx="5462580" cy="1611554"/>
          </a:xfrm>
        </p:spPr>
        <p:txBody>
          <a:bodyPr/>
          <a:lstStyle>
            <a:lvl1pPr marL="0" indent="0">
              <a:buNone/>
              <a:defRPr sz="15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20" name="Line 10">
            <a:extLst>
              <a:ext uri="{FF2B5EF4-FFF2-40B4-BE49-F238E27FC236}">
                <a16:creationId xmlns:a16="http://schemas.microsoft.com/office/drawing/2014/main" id="{B69EB865-6B86-419B-923C-F7DDC68C9C66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661012-3455-4F88-94AD-14869D2D54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86AD1DFC-053D-4B86-B715-9C611EC38679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21FBA45-9D10-4CA1-B5FE-DF08BC4B79D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1C45D8-BA71-4A92-82B2-C059AF6B670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970337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4008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137920"/>
            <a:ext cx="8234455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56438">
              <a:defRPr>
                <a:solidFill>
                  <a:schemeClr val="bg1"/>
                </a:solidFill>
              </a:defRPr>
            </a:lvl2pPr>
            <a:lvl3pPr marL="712875">
              <a:defRPr>
                <a:solidFill>
                  <a:schemeClr val="bg1"/>
                </a:solidFill>
              </a:defRPr>
            </a:lvl3pPr>
            <a:lvl4pPr marL="1069313">
              <a:defRPr>
                <a:solidFill>
                  <a:schemeClr val="bg1"/>
                </a:solidFill>
              </a:defRPr>
            </a:lvl4pPr>
            <a:lvl5pPr marL="1425751">
              <a:defRPr sz="1199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Line 10">
            <a:extLst>
              <a:ext uri="{FF2B5EF4-FFF2-40B4-BE49-F238E27FC236}">
                <a16:creationId xmlns:a16="http://schemas.microsoft.com/office/drawing/2014/main" id="{8D4CA674-C969-4C5C-9EA4-6D41FE961DE2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BEFDBB3-7C34-4E5E-AD13-1B49910A26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C4D46D-36B7-425F-AEB7-676F0E436ACC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D0F565-A080-4523-A04C-6DEE2789C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977AFB-BAAB-4831-9B67-3646A934EC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116168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97A26880-8DD7-4A78-ADAF-91ED2E744A7C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197511-0A94-4CF5-9020-59041E7FD0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683591-978A-463D-B9B3-9852A288C9B6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2EEF30F-48C0-4828-BF78-0AF655745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84586F-9A9C-4BEB-AF2F-2F8B1B885C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94096357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137919"/>
            <a:ext cx="5384800" cy="4834800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Line 10">
            <a:extLst>
              <a:ext uri="{FF2B5EF4-FFF2-40B4-BE49-F238E27FC236}">
                <a16:creationId xmlns:a16="http://schemas.microsoft.com/office/drawing/2014/main" id="{9B070B28-7AAC-47E5-9EB5-96B8B8B8805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64DE21E-2E07-4ED3-B534-8AED469C8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6CAE4F-17A3-4837-8418-FB6AD56A8907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601461-720E-4840-BF9B-D9C7BF8C9E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ACE970-AAFF-42C7-8A32-759BAA7BA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720337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12329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6405" y="1869441"/>
            <a:ext cx="5390400" cy="4256075"/>
          </a:xfrm>
        </p:spPr>
        <p:txBody>
          <a:bodyPr/>
          <a:lstStyle>
            <a:lvl1pPr>
              <a:defRPr sz="1999">
                <a:solidFill>
                  <a:schemeClr val="bg1"/>
                </a:solidFill>
              </a:defRPr>
            </a:lvl1pPr>
            <a:lvl2pPr>
              <a:defRPr sz="1799">
                <a:solidFill>
                  <a:schemeClr val="bg1"/>
                </a:solidFill>
              </a:defRPr>
            </a:lvl2pPr>
            <a:lvl3pPr>
              <a:defRPr sz="1599">
                <a:solidFill>
                  <a:schemeClr val="bg1"/>
                </a:solidFill>
              </a:defRPr>
            </a:lvl3pPr>
            <a:lvl4pPr>
              <a:defRPr sz="1399">
                <a:solidFill>
                  <a:schemeClr val="bg1"/>
                </a:solidFill>
              </a:defRPr>
            </a:lvl4pPr>
            <a:lvl5pPr>
              <a:defRPr sz="1199">
                <a:solidFill>
                  <a:schemeClr val="bg1"/>
                </a:solidFill>
              </a:defRPr>
            </a:lvl5pPr>
            <a:lvl6pPr>
              <a:defRPr sz="1799"/>
            </a:lvl6pPr>
            <a:lvl7pPr>
              <a:defRPr sz="1799"/>
            </a:lvl7pPr>
            <a:lvl8pPr>
              <a:defRPr sz="1799"/>
            </a:lvl8pPr>
            <a:lvl9pPr>
              <a:defRPr sz="17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09601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196405" y="1137920"/>
            <a:ext cx="53904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Line 10">
            <a:extLst>
              <a:ext uri="{FF2B5EF4-FFF2-40B4-BE49-F238E27FC236}">
                <a16:creationId xmlns:a16="http://schemas.microsoft.com/office/drawing/2014/main" id="{9773E7D9-2434-4381-A00D-27B62C086733}"/>
              </a:ext>
            </a:extLst>
          </p:cNvPr>
          <p:cNvSpPr>
            <a:spLocks noChangeShapeType="1"/>
          </p:cNvSpPr>
          <p:nvPr/>
        </p:nvSpPr>
        <p:spPr bwMode="auto">
          <a:xfrm>
            <a:off x="609601" y="907750"/>
            <a:ext cx="10974284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799" noProof="0" dirty="0">
              <a:solidFill>
                <a:schemeClr val="bg1"/>
              </a:solidFill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A3CD3F7-62DC-4CC4-8F34-C353DB087D7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29E1942-EB53-47E3-BCA7-F99D05C795EC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BD2EC01-3D34-4D32-9B76-5269D1AA465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4BE1C2B-4DA4-468F-9976-85F6CBF826F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288890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7B5C6B-B98B-4A4C-A8A7-B006989B59B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88E1-FE33-48AD-9218-9258D62CDCC4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CEF6675-2050-4038-B9E1-B80DB63D7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BA4D6F3-1431-4069-B814-2558466772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0823528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E421E6-BDBD-4E39-A4DE-2A8B36A47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9" name="Imagen 7">
            <a:extLst>
              <a:ext uri="{FF2B5EF4-FFF2-40B4-BE49-F238E27FC236}">
                <a16:creationId xmlns:a16="http://schemas.microsoft.com/office/drawing/2014/main" id="{3BFC951E-EA07-4934-A316-6973C8EC9C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-1" r="1" b="15"/>
          <a:stretch/>
        </p:blipFill>
        <p:spPr>
          <a:xfrm>
            <a:off x="0" y="0"/>
            <a:ext cx="12193929" cy="6857999"/>
          </a:xfrm>
          <a:prstGeom prst="rect">
            <a:avLst/>
          </a:prstGeom>
        </p:spPr>
      </p:pic>
      <p:pic>
        <p:nvPicPr>
          <p:cNvPr id="27" name="Imagen 13">
            <a:extLst>
              <a:ext uri="{FF2B5EF4-FFF2-40B4-BE49-F238E27FC236}">
                <a16:creationId xmlns:a16="http://schemas.microsoft.com/office/drawing/2014/main" id="{734F29AA-6918-435C-9E75-8EDC278CF38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5091" y="5937838"/>
            <a:ext cx="397052" cy="577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es-ES_tradn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D8D00F-BC77-48BF-B2D2-ADD0AB2030A6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573364A-8D1D-469F-8B23-75FBE4494DF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FAE5904-BE90-4A25-A015-FF10101C7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5" t="1207" r="17090" b="43908"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09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97186E-D73E-46D0-965A-D83686BA73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E8F4A-3FA1-4A64-AE77-2254BB85F3D2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DEF40EA-FE63-4D50-8C90-EC25A860C0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37420B-CF82-4784-8E9C-5C496E27C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109260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BD5388A-86DF-494E-B137-EE20B7E1CF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FBADE3-2F67-4EB8-B1F9-B00F8B809757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97E548-6FF4-4D89-ADE0-60181F536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0B0A8B-D001-432B-877C-21558412BB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97202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2D9F631-BCA2-47E9-B382-A1254CE498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6D9080-1DFC-4303-893C-6B8A3FEC05E8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C1D1872-1F65-44DE-8D43-3328C27B5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6C50CF-7368-4D25-B2B5-360BA59E76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95491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208915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943830C-23AE-48E4-B9DE-E91E6CE0B8B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A8381BA6-C3FD-495B-9B56-A30783EC7416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F742A9-BF69-4BF2-966C-3D76FC687FBA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65F912-EBE8-413B-A241-0FB3A540BA82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96858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7483" y="719139"/>
            <a:ext cx="4675200" cy="5210062"/>
          </a:xfrm>
        </p:spPr>
        <p:txBody>
          <a:bodyPr/>
          <a:lstStyle>
            <a:lvl1pPr marL="0" indent="0" algn="l" defTabSz="99486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199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76125" indent="-176125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900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8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88819" indent="-188819" algn="l" defTabSz="99486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8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572644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26825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1E95CD-7F1B-460F-A922-F9A1C25EDF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357" dirty="0" err="1">
              <a:solidFill>
                <a:srgbClr val="3F3F3F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D9A7322-A13C-423F-970A-77F75A9548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1"/>
            <a:ext cx="12183782" cy="6857999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6577" y="3789610"/>
            <a:ext cx="7611527" cy="6704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357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es-ES_tradn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6577" y="5498890"/>
            <a:ext cx="7611527" cy="2826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37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es-ES_tradn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6577" y="5879305"/>
            <a:ext cx="761152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1837" dirty="0" err="1">
                <a:solidFill>
                  <a:srgbClr val="808080"/>
                </a:solidFill>
                <a:latin typeface="Arial"/>
              </a:rPr>
              <a:t>Document</a:t>
            </a:r>
            <a:r>
              <a:rPr lang="es-ES_tradnl" sz="1837" dirty="0">
                <a:solidFill>
                  <a:srgbClr val="808080"/>
                </a:solidFill>
                <a:latin typeface="Arial"/>
              </a:rPr>
              <a:t> </a:t>
            </a:r>
            <a:r>
              <a:rPr lang="es-ES_tradnl" sz="1837" dirty="0" err="1">
                <a:solidFill>
                  <a:srgbClr val="808080"/>
                </a:solidFill>
                <a:latin typeface="Arial"/>
              </a:rPr>
              <a:t>type</a:t>
            </a:r>
            <a:r>
              <a:rPr lang="es-ES_tradnl" sz="1837" dirty="0">
                <a:solidFill>
                  <a:srgbClr val="808080"/>
                </a:solidFill>
                <a:latin typeface="Arial"/>
              </a:rPr>
              <a:t>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336577" y="6461668"/>
            <a:ext cx="76115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2117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816" dirty="0">
                <a:solidFill>
                  <a:srgbClr val="808080"/>
                </a:solidFill>
              </a:rPr>
              <a:t>DOCUMENTO CONFIDENCIAL.  Queda prohibido su uso y distribución sin la autorización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7958FED-D7D9-4230-849C-EE8D3A4FD989}"/>
              </a:ext>
            </a:extLst>
          </p:cNvPr>
          <p:cNvGrpSpPr/>
          <p:nvPr userDrawn="1"/>
        </p:nvGrpSpPr>
        <p:grpSpPr>
          <a:xfrm>
            <a:off x="11615899" y="5889507"/>
            <a:ext cx="479049" cy="760663"/>
            <a:chOff x="11280404" y="5712815"/>
            <a:chExt cx="401267" cy="65825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C742F5C-8164-4A55-B97F-16D441164E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83430" y="5712815"/>
              <a:ext cx="395214" cy="501077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265E464-4F5C-4749-8BD7-E928C1BE819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80404" y="6230739"/>
              <a:ext cx="401267" cy="1403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40036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1E95CD-7F1B-460F-A922-F9A1C25EDF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357" dirty="0" err="1">
              <a:solidFill>
                <a:srgbClr val="3F3F3F"/>
              </a:solidFill>
              <a:sym typeface="Arial" panose="020B0604020202020204" pitchFamily="34" charset="0"/>
            </a:endParaRPr>
          </a:p>
        </p:txBody>
      </p:sp>
      <p:pic>
        <p:nvPicPr>
          <p:cNvPr id="10" name="Imagen 6">
            <a:extLst>
              <a:ext uri="{FF2B5EF4-FFF2-40B4-BE49-F238E27FC236}">
                <a16:creationId xmlns:a16="http://schemas.microsoft.com/office/drawing/2014/main" id="{E3D0A7F5-5B35-4F92-A161-7AD933A335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6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19" name="Imagen 13">
            <a:extLst>
              <a:ext uri="{FF2B5EF4-FFF2-40B4-BE49-F238E27FC236}">
                <a16:creationId xmlns:a16="http://schemas.microsoft.com/office/drawing/2014/main" id="{F440CF0B-5337-430C-8301-371D74B8393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5121" y="3897234"/>
            <a:ext cx="1605213" cy="2333647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6577" y="3789610"/>
            <a:ext cx="7611527" cy="6704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3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es-ES_tradn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6577" y="5498890"/>
            <a:ext cx="7611527" cy="2826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37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es-ES_tradn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6577" y="5879305"/>
            <a:ext cx="761152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1837" dirty="0" err="1">
                <a:solidFill>
                  <a:srgbClr val="FFFFFF"/>
                </a:solidFill>
                <a:latin typeface="Arial"/>
              </a:rPr>
              <a:t>Document</a:t>
            </a:r>
            <a:r>
              <a:rPr lang="es-ES_tradnl" sz="1837" dirty="0">
                <a:solidFill>
                  <a:srgbClr val="FFFFFF"/>
                </a:solidFill>
                <a:latin typeface="Arial"/>
              </a:rPr>
              <a:t> </a:t>
            </a:r>
            <a:r>
              <a:rPr lang="es-ES_tradnl" sz="1837" dirty="0" err="1">
                <a:solidFill>
                  <a:srgbClr val="FFFFFF"/>
                </a:solidFill>
                <a:latin typeface="Arial"/>
              </a:rPr>
              <a:t>type</a:t>
            </a:r>
            <a:r>
              <a:rPr lang="es-ES_tradnl" sz="1837" dirty="0">
                <a:solidFill>
                  <a:srgbClr val="FFFFFF"/>
                </a:solidFill>
                <a:latin typeface="Arial"/>
              </a:rPr>
              <a:t>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336577" y="6398861"/>
            <a:ext cx="76115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2117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816" dirty="0">
                <a:solidFill>
                  <a:srgbClr val="FFFFFF"/>
                </a:solidFill>
              </a:rPr>
              <a:t>DOCUMENTO CONFIDENCIAL.  Queda prohibido su uso y distribución sin la autorización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1CC8FB-0EEB-4D50-9F4A-48B564C71CFE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O" sz="1632" dirty="0" err="1">
              <a:solidFill>
                <a:srgbClr val="3F3F3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7594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01D1C0-25FD-48B9-A85A-A010B4650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" name="think-cell Slide" r:id="rId5" imgW="370" imgH="371" progId="TCLayout.ActiveDocument.1">
                  <p:embed/>
                </p:oleObj>
              </mc:Choice>
              <mc:Fallback>
                <p:oleObj name="think-cell Slide" r:id="rId5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01D1C0-25FD-48B9-A85A-A010B4650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1F3703-D594-4EDE-8FF6-59EC42C0A3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 err="1">
              <a:solidFill>
                <a:srgbClr val="3F3F3F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fontAlgn="base">
              <a:spcBef>
                <a:spcPct val="0"/>
              </a:spcBef>
              <a:spcAft>
                <a:spcPct val="0"/>
              </a:spcAft>
            </a:pPr>
            <a:endParaRPr lang="es-ES_tradnl" sz="612" dirty="0">
              <a:solidFill>
                <a:srgbClr val="808080"/>
              </a:solidFill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EA173D3-339C-4414-863E-DAFC27F43E6A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s-ES_tradnl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_tradnl" sz="816" dirty="0">
              <a:solidFill>
                <a:srgbClr val="FFFFFF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968E1EF-8D18-4F86-B229-FCE1D49CDC25}"/>
              </a:ext>
            </a:extLst>
          </p:cNvPr>
          <p:cNvGrpSpPr/>
          <p:nvPr userDrawn="1"/>
        </p:nvGrpSpPr>
        <p:grpSpPr>
          <a:xfrm>
            <a:off x="11641748" y="5937613"/>
            <a:ext cx="352655" cy="578506"/>
            <a:chOff x="11280404" y="5712815"/>
            <a:chExt cx="401267" cy="65825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366988C-550C-4BC0-B8F8-8CB0CC90CD8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83430" y="5712815"/>
              <a:ext cx="395214" cy="501077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0B6082E-D69E-43CF-AD9E-DC335CB0FC1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280404" y="6230739"/>
              <a:ext cx="401267" cy="1403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00209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E421E6-BDBD-4E39-A4DE-2A8B36A47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E74F18-DDFD-4357-8857-563D0CEFC6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-1"/>
            <a:ext cx="12192003" cy="68580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D47A856-D863-4DC4-B44E-5193C8D3397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>
            <a:gsLst>
              <a:gs pos="17000">
                <a:schemeClr val="accent4">
                  <a:alpha val="90000"/>
                </a:schemeClr>
              </a:gs>
              <a:gs pos="100000">
                <a:schemeClr val="accent3"/>
              </a:gs>
            </a:gsLst>
            <a:lin ang="180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s-CO" sz="1224" dirty="0">
              <a:solidFill>
                <a:srgbClr val="FFFFFF"/>
              </a:solidFill>
            </a:endParaRPr>
          </a:p>
        </p:txBody>
      </p:sp>
      <p:pic>
        <p:nvPicPr>
          <p:cNvPr id="27" name="Imagen 13">
            <a:extLst>
              <a:ext uri="{FF2B5EF4-FFF2-40B4-BE49-F238E27FC236}">
                <a16:creationId xmlns:a16="http://schemas.microsoft.com/office/drawing/2014/main" id="{734F29AA-6918-435C-9E75-8EDC278CF38B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5091" y="5937838"/>
            <a:ext cx="397052" cy="577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eaLnBrk="1"/>
            <a:endParaRPr lang="es-ES_tradnl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D8D00F-BC77-48BF-B2D2-ADD0AB2030A6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573364A-8D1D-469F-8B23-75FBE4494DF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FAE5904-BE90-4A25-A015-FF10101C7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5" t="1207" r="17090" b="43908"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27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E421E6-BDBD-4E39-A4DE-2A8B36A47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 err="1">
              <a:solidFill>
                <a:srgbClr val="3F3F3F"/>
              </a:solidFill>
              <a:sym typeface="Arial" panose="020B0604020202020204" pitchFamily="34" charset="0"/>
            </a:endParaRPr>
          </a:p>
        </p:txBody>
      </p:sp>
      <p:pic>
        <p:nvPicPr>
          <p:cNvPr id="29" name="Imagen 7">
            <a:extLst>
              <a:ext uri="{FF2B5EF4-FFF2-40B4-BE49-F238E27FC236}">
                <a16:creationId xmlns:a16="http://schemas.microsoft.com/office/drawing/2014/main" id="{3BFC951E-EA07-4934-A316-6973C8EC9C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/>
          <a:stretch/>
        </p:blipFill>
        <p:spPr>
          <a:xfrm>
            <a:off x="0" y="0"/>
            <a:ext cx="12193929" cy="6857999"/>
          </a:xfrm>
          <a:prstGeom prst="rect">
            <a:avLst/>
          </a:prstGeom>
        </p:spPr>
      </p:pic>
      <p:pic>
        <p:nvPicPr>
          <p:cNvPr id="27" name="Imagen 13">
            <a:extLst>
              <a:ext uri="{FF2B5EF4-FFF2-40B4-BE49-F238E27FC236}">
                <a16:creationId xmlns:a16="http://schemas.microsoft.com/office/drawing/2014/main" id="{734F29AA-6918-435C-9E75-8EDC278CF38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5091" y="5937838"/>
            <a:ext cx="397052" cy="577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fontAlgn="base">
              <a:spcBef>
                <a:spcPct val="0"/>
              </a:spcBef>
              <a:spcAft>
                <a:spcPct val="0"/>
              </a:spcAft>
            </a:pPr>
            <a:endParaRPr lang="es-ES_tradnl" sz="816" dirty="0">
              <a:solidFill>
                <a:srgbClr val="80808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D8D00F-BC77-48BF-B2D2-ADD0AB2030A6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O" sz="1632" dirty="0" err="1">
              <a:solidFill>
                <a:srgbClr val="3F3F3F"/>
              </a:solidFill>
            </a:endParaRP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573364A-8D1D-469F-8B23-75FBE4494DF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s-ES_tradnl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_tradnl" sz="816" dirty="0">
              <a:solidFill>
                <a:srgbClr val="FFFFFF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FAE5904-BE90-4A25-A015-FF10101C7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511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1"/>
          <a:ext cx="2159" cy="16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1"/>
                        <a:ext cx="2159" cy="16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8E421E6-BDBD-4E39-A4DE-2A8B36A479F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"/>
            <a:ext cx="215979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041" dirty="0" err="1">
              <a:solidFill>
                <a:srgbClr val="3F3F3F"/>
              </a:solidFill>
              <a:sym typeface="Arial" panose="020B06040202020202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BE74F18-DDFD-4357-8857-563D0CEFC6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3" y="-1"/>
            <a:ext cx="12192003" cy="685800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D47A856-D863-4DC4-B44E-5193C8D3397F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gradFill>
            <a:gsLst>
              <a:gs pos="17000">
                <a:schemeClr val="accent4">
                  <a:alpha val="90000"/>
                </a:schemeClr>
              </a:gs>
              <a:gs pos="100000">
                <a:schemeClr val="accent3"/>
              </a:gs>
            </a:gsLst>
            <a:lin ang="180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O" sz="1224" dirty="0">
              <a:solidFill>
                <a:srgbClr val="FFFFFF"/>
              </a:solidFill>
            </a:endParaRPr>
          </a:p>
        </p:txBody>
      </p:sp>
      <p:pic>
        <p:nvPicPr>
          <p:cNvPr id="27" name="Imagen 13">
            <a:extLst>
              <a:ext uri="{FF2B5EF4-FFF2-40B4-BE49-F238E27FC236}">
                <a16:creationId xmlns:a16="http://schemas.microsoft.com/office/drawing/2014/main" id="{734F29AA-6918-435C-9E75-8EDC278CF38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15091" y="5937838"/>
            <a:ext cx="397052" cy="577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92" fontAlgn="base">
              <a:spcBef>
                <a:spcPct val="0"/>
              </a:spcBef>
              <a:spcAft>
                <a:spcPct val="0"/>
              </a:spcAft>
            </a:pPr>
            <a:endParaRPr lang="es-ES_tradnl" sz="816" dirty="0">
              <a:solidFill>
                <a:srgbClr val="808080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D8D00F-BC77-48BF-B2D2-ADD0AB2030A6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O" sz="1632" dirty="0" err="1">
              <a:solidFill>
                <a:srgbClr val="3F3F3F"/>
              </a:solidFill>
            </a:endParaRP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573364A-8D1D-469F-8B23-75FBE4494DFB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s-ES_tradnl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_tradnl" sz="816" dirty="0">
              <a:solidFill>
                <a:srgbClr val="FFFFFF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AFAE5904-BE90-4A25-A015-FF10101C74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466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436">
          <p15:clr>
            <a:srgbClr val="000000"/>
          </p15:clr>
        </p15:guide>
        <p15:guide id="3" orient="horz" pos="2994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6466CF-A519-4336-8705-7684ADC3D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6466CF-A519-4336-8705-7684ADC3D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4F75D7-6A3A-46F5-921A-BD6831A0FFF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1" y="-53134"/>
            <a:ext cx="66" cy="215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CO" sz="204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0C013-FA55-4AA3-A080-54A64AA3D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to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02AB330D-DF1D-4865-B0DA-2A4297DB09C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s-ES_tradnl" sz="816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s-ES_tradnl" sz="816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0299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7C201B3-2823-5547-8E6E-1ACCBBF1F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32AFDF5-B24A-8749-82F6-27F8A6C44D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084F208-B833-D747-9E0D-C20381971F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59BD920-16D5-E247-BC42-706120F2E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444A1A2F-75AF-D24A-8202-FC4A8914D5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18253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7B84156-27BD-7C42-968C-D0083F835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0FB2329-7C0A-0046-9817-475FE609BE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770F66CF-6873-A342-9ED6-72B6B5078A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3500328-C4F9-CE4F-93B0-B432528A89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C029FEB-1C41-3A4F-B451-965E71A285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61453"/>
            <a:ext cx="2743200" cy="365125"/>
          </a:xfrm>
        </p:spPr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93335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17BE6C8-DA39-0941-86EF-8C7683CE2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EDAB944-2E68-CB47-9DFF-AA1E23A67A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EC14780-C06F-9842-897E-9B1CDDB42D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82C02FB-683E-B741-B430-D7765FD124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6460656-D882-4A4F-9E21-8A024B430F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831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073E021-8EA0-C849-A408-E7D98C8D5C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9F3CB9CD-E008-734B-88E5-3B652A5178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F32F67A3-F873-E947-B9AF-AC91295218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46AB6F27-E775-BA46-A574-2832C27D4C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774F335-BFA1-3244-8FDB-AC4AB8899E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4D5D834F-55BF-BE46-A1A2-653F423A68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35813"/>
            <a:ext cx="2743200" cy="365125"/>
          </a:xfrm>
        </p:spPr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38676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004FA94-0956-6848-9D03-87CADD11D0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69315CCF-47CB-5C44-AE59-37D3874ECD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BDD49B93-C191-964E-A2A2-F6C9C17FACE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4FD0D72C-6CD0-7E4A-88AB-6758559A93B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CE1940F7-01B9-1246-A2EB-87413EA15D1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275083EC-84A3-464B-A4DA-34EA86CB79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9B3964AF-530F-4843-89B7-54308AE4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36DF1DE2-EE21-274F-991D-620F0B9767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43235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E3B0F1A-4873-F043-B3BC-0C8240DB07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948FD22D-2512-8648-BD70-14593E964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A23D86C-EB72-2E4F-AAF4-1F30CE3717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89EB364-FCBA-ED47-8902-F9AC594B7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394324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02D783BE-4C87-B246-B1C6-C205A5B51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1FA97B78-BA11-CC41-9671-6490F7C79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B02ACD37-54E0-F44F-96BF-1CB4DE20D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0461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46466CF-A519-4336-8705-7684ADC3DD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46466CF-A519-4336-8705-7684ADC3DD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4F75D7-6A3A-46F5-921A-BD6831A0FFF6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gray">
          <a:xfrm>
            <a:off x="1" y="-53134"/>
            <a:ext cx="66" cy="2151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O" sz="2041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0C013-FA55-4AA3-A080-54A64AA3D8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err="1"/>
              <a:t>Click</a:t>
            </a:r>
            <a:r>
              <a:rPr lang="es-CO" dirty="0"/>
              <a:t> to </a:t>
            </a:r>
            <a:r>
              <a:rPr lang="es-CO" dirty="0" err="1"/>
              <a:t>edit</a:t>
            </a:r>
            <a:r>
              <a:rPr lang="es-CO" dirty="0"/>
              <a:t> Master </a:t>
            </a:r>
            <a:r>
              <a:rPr lang="es-CO" dirty="0" err="1"/>
              <a:t>title</a:t>
            </a:r>
            <a:r>
              <a:rPr lang="es-CO" dirty="0"/>
              <a:t> </a:t>
            </a:r>
            <a:r>
              <a:rPr lang="es-CO" dirty="0" err="1"/>
              <a:t>style</a:t>
            </a:r>
            <a:endParaRPr lang="es-CO" dirty="0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02AB330D-DF1D-4865-B0DA-2A4297DB09C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93088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4A344C5-E10B-9440-83B2-3D018617D1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4F65B0C-7014-7243-9B26-310FC5ECBF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59B69359-BEB6-4A49-AC13-4E62832ECD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5879D0E4-DB65-3842-B387-E7CF31B8C7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D8A48B73-F37E-F445-A742-CBFB2B1CE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DD96FDE3-F03A-524D-80C7-643E9C1AB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7219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F1681A1-9083-104F-8780-84E0739529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878BA290-5D36-2540-9111-EC7AECF39E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AEA1B7D4-626B-014C-90CE-7AC91C037D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B92C9E78-C8CC-1848-BAEB-AF879AC043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904A701C-F472-CA45-A8F7-72EBF25439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5DDF9F5-B4E5-0C42-9D83-5D0E10291D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4292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6676CAA-0903-1546-9A2B-93A61962CD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7B83E62D-E948-414F-9BE6-2562B0BBB6D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C0EFE361-87D8-1049-8C50-E1E608CD32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88B5B4E-CDD2-A14C-B6AA-0D2B8465DA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3C7348D-06B8-B348-9A9F-23CF889356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874350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C118D6FE-9F8D-A249-B7A6-DCE7358DEE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EC452214-3F68-DA4B-AC94-047468BA6EE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35509D3-1B57-1D42-8AFB-AE294009BE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05CB136-9F24-D642-AA8F-1A6B16917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060726F4-FA26-364A-A46C-147127C93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124571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378983" y="436335"/>
            <a:ext cx="11434034" cy="310341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marL="0" indent="0" algn="ctr">
              <a:buNone/>
              <a:defRPr sz="2200" b="1">
                <a:solidFill>
                  <a:srgbClr val="363F49"/>
                </a:solidFill>
                <a:latin typeface="Calibri"/>
              </a:defRPr>
            </a:lvl1pPr>
          </a:lstStyle>
          <a:p>
            <a:pPr lvl="0"/>
            <a:endParaRPr lang="es-CO" noProof="0" dirty="0"/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400844" y="800104"/>
            <a:ext cx="11390313" cy="24193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000">
                <a:solidFill>
                  <a:schemeClr val="bg1">
                    <a:lumMod val="50000"/>
                  </a:schemeClr>
                </a:solidFill>
                <a:latin typeface="Calibri"/>
              </a:defRPr>
            </a:lvl1pPr>
          </a:lstStyle>
          <a:p>
            <a:pPr lvl="0"/>
            <a:endParaRPr lang="es-CO" noProof="0" dirty="0"/>
          </a:p>
        </p:txBody>
      </p:sp>
    </p:spTree>
    <p:extLst>
      <p:ext uri="{BB962C8B-B14F-4D97-AF65-F5344CB8AC3E}">
        <p14:creationId xmlns:p14="http://schemas.microsoft.com/office/powerpoint/2010/main" val="222378849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62151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90236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8695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4718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0932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1E95CD-7F1B-460F-A922-F9A1C25EDF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33838E00-DEAD-47D9-A197-153B793C6370}"/>
              </a:ext>
            </a:extLst>
          </p:cNvPr>
          <p:cNvGrpSpPr/>
          <p:nvPr userDrawn="1"/>
        </p:nvGrpSpPr>
        <p:grpSpPr>
          <a:xfrm>
            <a:off x="0" y="0"/>
            <a:ext cx="12196321" cy="3425760"/>
            <a:chOff x="0" y="3579495"/>
            <a:chExt cx="11953348" cy="33575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EC99574-1D15-43F4-BF68-911A6CCD7676}"/>
                </a:ext>
              </a:extLst>
            </p:cNvPr>
            <p:cNvGrpSpPr/>
            <p:nvPr/>
          </p:nvGrpSpPr>
          <p:grpSpPr>
            <a:xfrm>
              <a:off x="0" y="3579495"/>
              <a:ext cx="11953348" cy="3357562"/>
              <a:chOff x="0" y="3579495"/>
              <a:chExt cx="11953348" cy="3357562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4A9F2F89-36E3-436B-A1B5-B479ADB40645}"/>
                  </a:ext>
                </a:extLst>
              </p:cNvPr>
              <p:cNvPicPr>
                <a:picLocks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9586" t="8296" r="15587" b="6021"/>
              <a:stretch/>
            </p:blipFill>
            <p:spPr>
              <a:xfrm>
                <a:off x="0" y="3579495"/>
                <a:ext cx="11949114" cy="3357562"/>
              </a:xfrm>
              <a:prstGeom prst="rect">
                <a:avLst/>
              </a:prstGeom>
            </p:spPr>
          </p:pic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BFB48EF2-36A8-4F5E-A3CF-F631A308A459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4234" y="3579495"/>
                <a:ext cx="11949114" cy="3357562"/>
              </a:xfrm>
              <a:prstGeom prst="rect">
                <a:avLst/>
              </a:prstGeom>
              <a:solidFill>
                <a:srgbClr val="5DD7D6">
                  <a:alpha val="20000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Autofit/>
              </a:bodyPr>
              <a:lstStyle/>
              <a:p>
                <a:pPr algn="ctr"/>
                <a:endParaRPr lang="es-CO" sz="1837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C39C8AE-15E5-492B-8C5A-5443426A3018}"/>
                </a:ext>
              </a:extLst>
            </p:cNvPr>
            <p:cNvSpPr>
              <a:spLocks/>
            </p:cNvSpPr>
            <p:nvPr/>
          </p:nvSpPr>
          <p:spPr>
            <a:xfrm flipH="1">
              <a:off x="0" y="3579495"/>
              <a:ext cx="11949114" cy="3357562"/>
            </a:xfrm>
            <a:prstGeom prst="rect">
              <a:avLst/>
            </a:prstGeom>
            <a:gradFill flip="none" rotWithShape="1">
              <a:gsLst>
                <a:gs pos="0">
                  <a:schemeClr val="accent3">
                    <a:alpha val="40000"/>
                  </a:schemeClr>
                </a:gs>
                <a:gs pos="70000">
                  <a:schemeClr val="accent4">
                    <a:alpha val="40000"/>
                  </a:schemeClr>
                </a:gs>
                <a:gs pos="30000">
                  <a:schemeClr val="accent2">
                    <a:alpha val="40000"/>
                  </a:schemeClr>
                </a:gs>
                <a:gs pos="100000">
                  <a:schemeClr val="accent5">
                    <a:alpha val="40000"/>
                  </a:schemeClr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s-CO" sz="1837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6577" y="3789610"/>
            <a:ext cx="7611527" cy="6704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357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es-ES_tradn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6577" y="5498890"/>
            <a:ext cx="7611527" cy="2826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37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es-ES_tradn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6577" y="5879305"/>
            <a:ext cx="761152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_tradnl" sz="1837" baseline="0" noProof="0" dirty="0" err="1">
                <a:solidFill>
                  <a:schemeClr val="accent6"/>
                </a:solidFill>
                <a:latin typeface="+mn-lt"/>
              </a:rPr>
              <a:t>Document</a:t>
            </a:r>
            <a:r>
              <a:rPr lang="es-ES_tradnl" sz="1837" baseline="0" noProof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es-ES_tradnl" sz="1837" baseline="0" noProof="0" dirty="0" err="1">
                <a:solidFill>
                  <a:schemeClr val="accent6"/>
                </a:solidFill>
                <a:latin typeface="+mn-lt"/>
              </a:rPr>
              <a:t>type</a:t>
            </a:r>
            <a:r>
              <a:rPr lang="es-ES_tradnl" sz="1837" baseline="0" noProof="0" dirty="0">
                <a:solidFill>
                  <a:schemeClr val="accent6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336577" y="6461668"/>
            <a:ext cx="76115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21171" eaLnBrk="0" hangingPunct="0"/>
            <a:r>
              <a:rPr lang="es-ES_tradnl" sz="816" kern="1200" baseline="0" dirty="0">
                <a:solidFill>
                  <a:schemeClr val="accent6"/>
                </a:solidFill>
                <a:latin typeface="Arial" charset="0"/>
                <a:ea typeface="+mn-ea"/>
                <a:cs typeface="+mn-cs"/>
              </a:rPr>
              <a:t>DOCUMENTO CONFIDENCIAL.  Queda prohibido su uso y distribución sin la autorización.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7958FED-D7D9-4230-849C-EE8D3A4FD989}"/>
              </a:ext>
            </a:extLst>
          </p:cNvPr>
          <p:cNvGrpSpPr/>
          <p:nvPr userDrawn="1"/>
        </p:nvGrpSpPr>
        <p:grpSpPr>
          <a:xfrm>
            <a:off x="10026655" y="3894059"/>
            <a:ext cx="1441995" cy="2365494"/>
            <a:chOff x="11280404" y="5712815"/>
            <a:chExt cx="401267" cy="65825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C742F5C-8164-4A55-B97F-16D441164E5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12" t="7740" r="15512" b="27025"/>
            <a:stretch/>
          </p:blipFill>
          <p:spPr>
            <a:xfrm>
              <a:off x="11283430" y="5712815"/>
              <a:ext cx="395214" cy="501077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265E464-4F5C-4749-8BD7-E928C1BE819D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01" t="73849" r="15188" b="8200"/>
            <a:stretch/>
          </p:blipFill>
          <p:spPr>
            <a:xfrm>
              <a:off x="11280404" y="6230739"/>
              <a:ext cx="401267" cy="140334"/>
            </a:xfrm>
            <a:prstGeom prst="rect">
              <a:avLst/>
            </a:prstGeom>
          </p:spPr>
        </p:pic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A277DE5B-5AB5-495F-A452-B279CDB70B70}"/>
              </a:ext>
            </a:extLst>
          </p:cNvPr>
          <p:cNvSpPr/>
          <p:nvPr userDrawn="1"/>
        </p:nvSpPr>
        <p:spPr>
          <a:xfrm>
            <a:off x="7127101" y="2479168"/>
            <a:ext cx="1414912" cy="1414891"/>
          </a:xfrm>
          <a:prstGeom prst="ellipse">
            <a:avLst/>
          </a:prstGeom>
          <a:solidFill>
            <a:schemeClr val="bg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AC5C1E1-B67B-45E5-BC69-314D26E5BF7E}"/>
              </a:ext>
            </a:extLst>
          </p:cNvPr>
          <p:cNvSpPr/>
          <p:nvPr/>
        </p:nvSpPr>
        <p:spPr>
          <a:xfrm rot="17770329" flipV="1">
            <a:off x="8758921" y="-173963"/>
            <a:ext cx="3889938" cy="3196538"/>
          </a:xfrm>
          <a:custGeom>
            <a:avLst/>
            <a:gdLst>
              <a:gd name="connsiteX0" fmla="*/ 3812499 w 3812499"/>
              <a:gd name="connsiteY0" fmla="*/ 878189 h 3132857"/>
              <a:gd name="connsiteX1" fmla="*/ 2025589 w 3812499"/>
              <a:gd name="connsiteY1" fmla="*/ 0 h 3132857"/>
              <a:gd name="connsiteX2" fmla="*/ 1993261 w 3812499"/>
              <a:gd name="connsiteY2" fmla="*/ 10638 h 3132857"/>
              <a:gd name="connsiteX3" fmla="*/ 234575 w 3812499"/>
              <a:gd name="connsiteY3" fmla="*/ 1426719 h 3132857"/>
              <a:gd name="connsiteX4" fmla="*/ 1589655 w 3812499"/>
              <a:gd name="connsiteY4" fmla="*/ 2931957 h 3132857"/>
              <a:gd name="connsiteX5" fmla="*/ 2842333 w 3812499"/>
              <a:gd name="connsiteY5" fmla="*/ 2541612 h 3132857"/>
              <a:gd name="connsiteX6" fmla="*/ 2991611 w 3812499"/>
              <a:gd name="connsiteY6" fmla="*/ 2548503 h 31328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812499" h="3132857">
                <a:moveTo>
                  <a:pt x="3812499" y="878189"/>
                </a:moveTo>
                <a:lnTo>
                  <a:pt x="2025589" y="0"/>
                </a:lnTo>
                <a:lnTo>
                  <a:pt x="1993261" y="10638"/>
                </a:lnTo>
                <a:cubicBezTo>
                  <a:pt x="873407" y="441623"/>
                  <a:pt x="248591" y="1357700"/>
                  <a:pt x="234575" y="1426719"/>
                </a:cubicBezTo>
                <a:cubicBezTo>
                  <a:pt x="-447389" y="2656469"/>
                  <a:pt x="465384" y="3549752"/>
                  <a:pt x="1589655" y="2931957"/>
                </a:cubicBezTo>
                <a:cubicBezTo>
                  <a:pt x="2012929" y="2661025"/>
                  <a:pt x="2441230" y="2542576"/>
                  <a:pt x="2842333" y="2541612"/>
                </a:cubicBezTo>
                <a:lnTo>
                  <a:pt x="2991611" y="254850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3297" tIns="46649" rIns="93297" bIns="4664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s-CO" sz="1837"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1CC8FB-0EEB-4D50-9F4A-48B564C71CFE}"/>
              </a:ext>
            </a:extLst>
          </p:cNvPr>
          <p:cNvSpPr/>
          <p:nvPr userDrawn="1"/>
        </p:nvSpPr>
        <p:spPr>
          <a:xfrm>
            <a:off x="0" y="3224410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3397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1356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92897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12742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_tradnl"/>
              <a:t>Arrastre la imagen al marcador de posición o haga clic en el icono para agrega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5813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03397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610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9349" y="188640"/>
            <a:ext cx="10972800" cy="562074"/>
          </a:xfrm>
          <a:prstGeom prst="rect">
            <a:avLst/>
          </a:prstGeom>
        </p:spPr>
        <p:txBody>
          <a:bodyPr/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0" y="6483154"/>
            <a:ext cx="576064" cy="274637"/>
          </a:xfrm>
          <a:prstGeom prst="rect">
            <a:avLst/>
          </a:prstGeom>
        </p:spPr>
        <p:txBody>
          <a:bodyPr/>
          <a:lstStyle>
            <a:lvl1pPr algn="l">
              <a:defRPr sz="1000">
                <a:latin typeface="+mj-lt"/>
              </a:defRPr>
            </a:lvl1pPr>
          </a:lstStyle>
          <a:p>
            <a:fld id="{FF260689-DB54-4EEE-A46D-4DE975CA1A91}" type="slidenum">
              <a:rPr lang="es-CO" smtClean="0">
                <a:solidFill>
                  <a:prstClr val="black"/>
                </a:solidFill>
              </a:rPr>
              <a:pPr/>
              <a:t>‹Nº›</a:t>
            </a:fld>
            <a:endParaRPr lang="es-CO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929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1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1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1E95CD-7F1B-460F-A922-F9A1C25EDF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4357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Imagen 6">
            <a:extLst>
              <a:ext uri="{FF2B5EF4-FFF2-40B4-BE49-F238E27FC236}">
                <a16:creationId xmlns:a16="http://schemas.microsoft.com/office/drawing/2014/main" id="{E3D0A7F5-5B35-4F92-A161-7AD933A335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6" r="16" b="62"/>
          <a:stretch/>
        </p:blipFill>
        <p:spPr>
          <a:xfrm>
            <a:off x="1" y="1"/>
            <a:ext cx="12192000" cy="6858000"/>
          </a:xfrm>
          <a:prstGeom prst="rect">
            <a:avLst/>
          </a:prstGeom>
        </p:spPr>
      </p:pic>
      <p:pic>
        <p:nvPicPr>
          <p:cNvPr id="19" name="Imagen 13">
            <a:extLst>
              <a:ext uri="{FF2B5EF4-FFF2-40B4-BE49-F238E27FC236}">
                <a16:creationId xmlns:a16="http://schemas.microsoft.com/office/drawing/2014/main" id="{F440CF0B-5337-430C-8301-371D74B8393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5121" y="3897234"/>
            <a:ext cx="1605213" cy="2333647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336577" y="3789610"/>
            <a:ext cx="7611527" cy="6704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357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  <a:endParaRPr lang="es-ES_tradnl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336577" y="5498890"/>
            <a:ext cx="7611527" cy="282625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837" cap="all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  <a:endParaRPr lang="es-ES_tradnl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336577" y="5879305"/>
            <a:ext cx="7611527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/>
            </a:pPr>
            <a:r>
              <a:rPr lang="es-ES_tradnl" sz="1837" baseline="0" noProof="0" dirty="0" err="1">
                <a:solidFill>
                  <a:schemeClr val="bg1"/>
                </a:solidFill>
                <a:latin typeface="+mn-lt"/>
              </a:rPr>
              <a:t>Document</a:t>
            </a:r>
            <a:r>
              <a:rPr lang="es-ES_tradnl" sz="1837" baseline="0" noProof="0" dirty="0">
                <a:solidFill>
                  <a:schemeClr val="bg1"/>
                </a:solidFill>
                <a:latin typeface="+mn-lt"/>
              </a:rPr>
              <a:t> </a:t>
            </a:r>
            <a:r>
              <a:rPr lang="es-ES_tradnl" sz="1837" baseline="0" noProof="0" dirty="0" err="1">
                <a:solidFill>
                  <a:schemeClr val="bg1"/>
                </a:solidFill>
                <a:latin typeface="+mn-lt"/>
              </a:rPr>
              <a:t>type</a:t>
            </a:r>
            <a:r>
              <a:rPr lang="es-ES_tradnl" sz="1837" baseline="0" noProof="0" dirty="0">
                <a:solidFill>
                  <a:schemeClr val="bg1"/>
                </a:solidFill>
                <a:latin typeface="+mn-lt"/>
              </a:rPr>
              <a:t> | Date</a:t>
            </a:r>
          </a:p>
        </p:txBody>
      </p:sp>
      <p:sp>
        <p:nvSpPr>
          <p:cNvPr id="26" name="Disclaimer-English (United States)"/>
          <p:cNvSpPr>
            <a:spLocks noChangeArrowheads="1"/>
          </p:cNvSpPr>
          <p:nvPr userDrawn="1"/>
        </p:nvSpPr>
        <p:spPr bwMode="black">
          <a:xfrm>
            <a:off x="336577" y="6398861"/>
            <a:ext cx="7611527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spAutoFit/>
          </a:bodyPr>
          <a:lstStyle/>
          <a:p>
            <a:pPr defTabSz="821171" eaLnBrk="0" hangingPunct="0"/>
            <a:r>
              <a:rPr lang="es-ES_tradnl" sz="816" kern="1200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rPr>
              <a:t>DOCUMENTO CONFIDENCIAL.  Queda prohibido su uso y distribución sin la autorización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A1CC8FB-0EEB-4D50-9F4A-48B564C71CFE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444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01D1C0-25FD-48B9-A85A-A010B46501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0" y="1620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5" imgW="370" imgH="371" progId="TCLayout.ActiveDocument.1">
                  <p:embed/>
                </p:oleObj>
              </mc:Choice>
              <mc:Fallback>
                <p:oleObj name="think-cell Slide" r:id="rId5" imgW="370" imgH="37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01D1C0-25FD-48B9-A85A-A010B46501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0" y="1620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51F3703-D594-4EDE-8FF6-59EC42C0A30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s-ES_tradnl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2" y="51835"/>
            <a:ext cx="1231563" cy="96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95" eaLnBrk="1"/>
            <a:endParaRPr lang="es-ES_tradnl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0EA173D3-339C-4414-863E-DAFC27F43E6A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754287" y="6669913"/>
            <a:ext cx="188093" cy="12809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s-E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s-ES_tradnl" sz="816" baseline="0" smtClean="0">
                <a:solidFill>
                  <a:schemeClr val="bg1"/>
                </a:solidFill>
                <a:latin typeface="+mn-lt"/>
              </a:rPr>
              <a:pPr/>
              <a:t>‹Nº›</a:t>
            </a:fld>
            <a:endParaRPr lang="es-ES_tradnl" sz="816" baseline="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968E1EF-8D18-4F86-B229-FCE1D49CDC25}"/>
              </a:ext>
            </a:extLst>
          </p:cNvPr>
          <p:cNvGrpSpPr/>
          <p:nvPr userDrawn="1"/>
        </p:nvGrpSpPr>
        <p:grpSpPr>
          <a:xfrm>
            <a:off x="11641748" y="5937613"/>
            <a:ext cx="352655" cy="578506"/>
            <a:chOff x="11280404" y="5712815"/>
            <a:chExt cx="401267" cy="65825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366988C-550C-4BC0-B8F8-8CB0CC90CD8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12" t="7740" r="15512" b="27025"/>
            <a:stretch/>
          </p:blipFill>
          <p:spPr>
            <a:xfrm>
              <a:off x="11283430" y="5712815"/>
              <a:ext cx="395214" cy="501077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0B6082E-D69E-43CF-AD9E-DC335CB0FC1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001" t="73849" r="15188" b="8200"/>
            <a:stretch/>
          </p:blipFill>
          <p:spPr>
            <a:xfrm>
              <a:off x="11280404" y="6230739"/>
              <a:ext cx="401267" cy="14033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2539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688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2.png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8.v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oleObject" Target="../embeddings/oleObject8.bin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43.xml"/><Relationship Id="rId7" Type="http://schemas.openxmlformats.org/officeDocument/2006/relationships/theme" Target="../theme/theme2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image" Target="../media/image2.png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5.vml"/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26" Type="http://schemas.openxmlformats.org/officeDocument/2006/relationships/oleObject" Target="../embeddings/oleObject15.bin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72.xml"/><Relationship Id="rId7" Type="http://schemas.openxmlformats.org/officeDocument/2006/relationships/theme" Target="../theme/theme3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5" Type="http://schemas.openxmlformats.org/officeDocument/2006/relationships/tags" Target="../tags/tag76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67.xml"/><Relationship Id="rId20" Type="http://schemas.openxmlformats.org/officeDocument/2006/relationships/tags" Target="../tags/tag71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62.xml"/><Relationship Id="rId24" Type="http://schemas.openxmlformats.org/officeDocument/2006/relationships/tags" Target="../tags/tag75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66.xml"/><Relationship Id="rId23" Type="http://schemas.openxmlformats.org/officeDocument/2006/relationships/tags" Target="../tags/tag74.xml"/><Relationship Id="rId28" Type="http://schemas.openxmlformats.org/officeDocument/2006/relationships/image" Target="../media/image2.png"/><Relationship Id="rId10" Type="http://schemas.openxmlformats.org/officeDocument/2006/relationships/tags" Target="../tags/tag61.xml"/><Relationship Id="rId19" Type="http://schemas.openxmlformats.org/officeDocument/2006/relationships/tags" Target="../tags/tag70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60.xml"/><Relationship Id="rId14" Type="http://schemas.openxmlformats.org/officeDocument/2006/relationships/tags" Target="../tags/tag65.xml"/><Relationship Id="rId22" Type="http://schemas.openxmlformats.org/officeDocument/2006/relationships/tags" Target="../tags/tag73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" Type="http://schemas.openxmlformats.org/officeDocument/2006/relationships/slideLayout" Target="../slideLayouts/slideLayout21.xml"/><Relationship Id="rId21" Type="http://schemas.openxmlformats.org/officeDocument/2006/relationships/slideLayout" Target="../slideLayouts/slideLayout39.xml"/><Relationship Id="rId34" Type="http://schemas.openxmlformats.org/officeDocument/2006/relationships/image" Target="../media/image14.emf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oleObject" Target="../embeddings/oleObject21.bin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tags" Target="../tags/tag88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tags" Target="../tags/tag8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vmlDrawing" Target="../drawings/vmlDrawing21.vml"/><Relationship Id="rId8" Type="http://schemas.openxmlformats.org/officeDocument/2006/relationships/slideLayout" Target="../slideLayouts/slideLayout2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22.v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49.xml"/><Relationship Id="rId21" Type="http://schemas.openxmlformats.org/officeDocument/2006/relationships/tags" Target="../tags/tag101.xml"/><Relationship Id="rId7" Type="http://schemas.openxmlformats.org/officeDocument/2006/relationships/theme" Target="../theme/theme5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5" Type="http://schemas.openxmlformats.org/officeDocument/2006/relationships/tags" Target="../tags/tag105.xml"/><Relationship Id="rId2" Type="http://schemas.openxmlformats.org/officeDocument/2006/relationships/slideLayout" Target="../slideLayouts/slideLayout48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ags" Target="../tags/tag91.xml"/><Relationship Id="rId24" Type="http://schemas.openxmlformats.org/officeDocument/2006/relationships/tags" Target="../tags/tag104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95.xml"/><Relationship Id="rId23" Type="http://schemas.openxmlformats.org/officeDocument/2006/relationships/tags" Target="../tags/tag103.xml"/><Relationship Id="rId28" Type="http://schemas.openxmlformats.org/officeDocument/2006/relationships/image" Target="../media/image15.png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4" Type="http://schemas.openxmlformats.org/officeDocument/2006/relationships/slideLayout" Target="../slideLayouts/slideLayout50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tags" Target="../tags/tag102.xml"/><Relationship Id="rId27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theme" Target="../theme/theme6.xml"/><Relationship Id="rId18" Type="http://schemas.openxmlformats.org/officeDocument/2006/relationships/image" Target="../media/image14.emf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oleObject" Target="../embeddings/oleObject29.bin"/><Relationship Id="rId2" Type="http://schemas.openxmlformats.org/officeDocument/2006/relationships/slideLayout" Target="../slideLayouts/slideLayout54.xml"/><Relationship Id="rId16" Type="http://schemas.openxmlformats.org/officeDocument/2006/relationships/tags" Target="../tags/tag119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tags" Target="../tags/tag118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vmlDrawing" Target="../drawings/vmlDrawing29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heme" Target="../theme/theme7.xml"/><Relationship Id="rId18" Type="http://schemas.openxmlformats.org/officeDocument/2006/relationships/oleObject" Target="../embeddings/oleObject30.bin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image" Target="../media/image25.jpg"/><Relationship Id="rId2" Type="http://schemas.openxmlformats.org/officeDocument/2006/relationships/slideLayout" Target="../slideLayouts/slideLayout66.xml"/><Relationship Id="rId16" Type="http://schemas.openxmlformats.org/officeDocument/2006/relationships/tags" Target="../tags/tag121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tags" Target="../tags/tag120.xml"/><Relationship Id="rId10" Type="http://schemas.openxmlformats.org/officeDocument/2006/relationships/slideLayout" Target="../slideLayouts/slideLayout74.xml"/><Relationship Id="rId19" Type="http://schemas.openxmlformats.org/officeDocument/2006/relationships/image" Target="../media/image24.emf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vmlDrawing" Target="../drawings/vmlDrawing3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236709650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513775" y="234865"/>
            <a:ext cx="10890740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s-ES_tradn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51377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816" cap="all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s-ES_tradnl" sz="816" cap="all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513775" y="566136"/>
            <a:ext cx="1089074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632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204849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s-ES_tradnl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</a:t>
            </a:r>
            <a:r>
              <a:rPr lang="es-ES_tradnl" sz="816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Footnote</a:t>
            </a:r>
            <a:endParaRPr lang="es-ES_tradnl" sz="816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10557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s-ES_tradnl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FUENTE: Análisis equipo de trabajo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632" b="1" baseline="0" noProof="0" dirty="0" err="1">
                  <a:latin typeface="+mn-lt"/>
                  <a:ea typeface="+mn-ea"/>
                </a:rPr>
                <a:t>Title</a:t>
              </a:r>
              <a:endParaRPr lang="es-ES_tradnl" sz="1632" b="1" baseline="0" noProof="0" dirty="0">
                <a:latin typeface="+mn-lt"/>
                <a:ea typeface="+mn-ea"/>
              </a:endParaRPr>
            </a:p>
            <a:p>
              <a:r>
                <a:rPr lang="es-ES_tradnl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Unit</a:t>
              </a:r>
              <a:r>
                <a:rPr lang="es-ES_tradnl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ES_tradnl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es-ES_tradnl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ES_tradnl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es-ES_tradnl" sz="1632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501639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s-ES_tradnl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s-ES_tradnl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662475" y="1294705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text</a:t>
            </a:r>
            <a:r>
              <a:rPr lang="es-ES_tradnl" dirty="0"/>
              <a:t> </a:t>
            </a:r>
            <a:r>
              <a:rPr lang="es-ES_tradnl" dirty="0" err="1"/>
              <a:t>styles</a:t>
            </a:r>
            <a:endParaRPr lang="es-ES_tradnl" dirty="0"/>
          </a:p>
          <a:p>
            <a:pPr lvl="1" latinLnBrk="0"/>
            <a:r>
              <a:rPr lang="es-ES_tradnl" dirty="0" err="1"/>
              <a:t>Secon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2" latinLnBrk="0"/>
            <a:r>
              <a:rPr lang="es-ES_tradnl" dirty="0" err="1"/>
              <a:t>Thir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3" latinLnBrk="0"/>
            <a:r>
              <a:rPr lang="es-ES_tradnl" dirty="0" err="1"/>
              <a:t>Four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4" latinLnBrk="0"/>
            <a:r>
              <a:rPr lang="es-ES_tradnl" dirty="0" err="1"/>
              <a:t>Fif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124BFDB-AFE1-4F8B-9E6A-70731F42787B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2488B92C-B62F-483A-81B1-052DD2ACC4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5" t="1207" r="17090" b="43908"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75716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_tradnl" sz="1632" baseline="0" dirty="0" err="1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1768491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513775" y="234865"/>
            <a:ext cx="10890740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s-ES_tradn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51377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816" cap="all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s-ES_tradnl" sz="816" cap="all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513775" y="566136"/>
            <a:ext cx="1089074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632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s-ES_tradnl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204849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s-ES_tradnl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</a:t>
            </a:r>
            <a:r>
              <a:rPr lang="es-ES_tradnl" sz="816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Footnote</a:t>
            </a:r>
            <a:endParaRPr lang="es-ES_tradnl" sz="816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10557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s-ES_tradnl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FUENTE: Análisis equipo de trabajo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632" b="1" baseline="0" noProof="0" dirty="0" err="1">
                  <a:latin typeface="+mn-lt"/>
                  <a:ea typeface="+mn-ea"/>
                </a:rPr>
                <a:t>Title</a:t>
              </a:r>
              <a:endParaRPr lang="es-ES_tradnl" sz="1632" b="1" baseline="0" noProof="0" dirty="0">
                <a:latin typeface="+mn-lt"/>
                <a:ea typeface="+mn-ea"/>
              </a:endParaRPr>
            </a:p>
            <a:p>
              <a:r>
                <a:rPr lang="es-ES_tradnl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Unit</a:t>
              </a:r>
              <a:r>
                <a:rPr lang="es-ES_tradnl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ES_tradnl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es-ES_tradnl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ES_tradnl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es-ES_tradnl" sz="1632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501639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s-ES_tradnl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s-ES_tradnl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662475" y="1294705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text</a:t>
            </a:r>
            <a:r>
              <a:rPr lang="es-ES_tradnl" dirty="0"/>
              <a:t> </a:t>
            </a:r>
            <a:r>
              <a:rPr lang="es-ES_tradnl" dirty="0" err="1"/>
              <a:t>styles</a:t>
            </a:r>
            <a:endParaRPr lang="es-ES_tradnl" dirty="0"/>
          </a:p>
          <a:p>
            <a:pPr lvl="1" latinLnBrk="0"/>
            <a:r>
              <a:rPr lang="es-ES_tradnl" dirty="0" err="1"/>
              <a:t>Secon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2" latinLnBrk="0"/>
            <a:r>
              <a:rPr lang="es-ES_tradnl" dirty="0" err="1"/>
              <a:t>Thir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3" latinLnBrk="0"/>
            <a:r>
              <a:rPr lang="es-ES_tradnl" dirty="0" err="1"/>
              <a:t>Four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4" latinLnBrk="0"/>
            <a:r>
              <a:rPr lang="es-ES_tradnl" dirty="0" err="1"/>
              <a:t>Fif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124BFDB-AFE1-4F8B-9E6A-70731F42787B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2488B92C-B62F-483A-81B1-052DD2ACC4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5" t="1207" r="17090" b="43908"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696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_tradnl" sz="1632" baseline="0" dirty="0" err="1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2340859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en-US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513775" y="234865"/>
            <a:ext cx="10890740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endParaRPr lang="es-ES_tradn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51377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s-ES_tradnl" sz="816" cap="all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  <a:endParaRPr lang="es-ES_tradnl" sz="816" cap="all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513775" y="566136"/>
            <a:ext cx="1089074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s-ES_tradnl" sz="1632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es-ES_tradnl" sz="163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204849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>
              <a:defRPr/>
            </a:pPr>
            <a:r>
              <a:rPr lang="es-ES_tradnl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1 </a:t>
            </a:r>
            <a:r>
              <a:rPr lang="es-ES_tradnl" sz="816" baseline="0" noProof="0" dirty="0" err="1">
                <a:solidFill>
                  <a:schemeClr val="accent6"/>
                </a:solidFill>
                <a:latin typeface="+mn-lt"/>
                <a:ea typeface="+mn-ea"/>
              </a:rPr>
              <a:t>Footnote</a:t>
            </a:r>
            <a:endParaRPr lang="es-ES_tradnl" sz="816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10557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>
              <a:tabLst/>
            </a:pPr>
            <a:r>
              <a:rPr lang="es-ES_tradnl" sz="816" baseline="0" noProof="0" dirty="0">
                <a:solidFill>
                  <a:schemeClr val="accent6"/>
                </a:solidFill>
                <a:latin typeface="+mn-lt"/>
                <a:ea typeface="+mn-ea"/>
              </a:rPr>
              <a:t>FUENTE: Análisis equipo de trabajo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s-ES_tradnl" sz="1632" b="1" baseline="0" noProof="0" dirty="0" err="1">
                  <a:latin typeface="+mn-lt"/>
                  <a:ea typeface="+mn-ea"/>
                </a:rPr>
                <a:t>Title</a:t>
              </a:r>
              <a:endParaRPr lang="es-ES_tradnl" sz="1632" b="1" baseline="0" noProof="0" dirty="0">
                <a:latin typeface="+mn-lt"/>
                <a:ea typeface="+mn-ea"/>
              </a:endParaRPr>
            </a:p>
            <a:p>
              <a:r>
                <a:rPr lang="es-ES_tradnl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Unit</a:t>
              </a:r>
              <a:r>
                <a:rPr lang="es-ES_tradnl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ES_tradnl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of</a:t>
              </a:r>
              <a:r>
                <a:rPr lang="es-ES_tradnl" sz="1632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 </a:t>
              </a:r>
              <a:r>
                <a:rPr lang="es-ES_tradnl" sz="1632" baseline="0" noProof="0" dirty="0" err="1">
                  <a:solidFill>
                    <a:schemeClr val="accent6"/>
                  </a:solidFill>
                  <a:latin typeface="+mn-lt"/>
                  <a:ea typeface="+mn-ea"/>
                </a:rPr>
                <a:t>measure</a:t>
              </a:r>
              <a:endParaRPr lang="es-ES_tradnl" sz="1632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501639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>
                <a:buClr>
                  <a:schemeClr val="tx2"/>
                </a:buClr>
              </a:pPr>
              <a:r>
                <a:rPr lang="es-ES_tradnl" sz="816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/>
              <a:endParaRPr lang="es-ES_tradnl" sz="1837" baseline="0" dirty="0">
                <a:latin typeface="+mn-lt"/>
                <a:ea typeface="+mn-ea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/>
                <a:endParaRPr lang="es-ES_tradnl" sz="1837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chemeClr val="tx2"/>
                </a:buClr>
              </a:pPr>
              <a:r>
                <a:rPr lang="es-ES_tradnl" sz="1224" baseline="0" dirty="0" err="1">
                  <a:latin typeface="+mn-lt"/>
                  <a:ea typeface="+mn-ea"/>
                </a:rPr>
                <a:t>Legend</a:t>
              </a:r>
              <a:endParaRPr lang="es-ES_tradnl" sz="1224" baseline="0" dirty="0">
                <a:latin typeface="+mn-lt"/>
                <a:ea typeface="+mn-ea"/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s-ES_tradnl" sz="1837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662475" y="1294705"/>
            <a:ext cx="4389573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text</a:t>
            </a:r>
            <a:r>
              <a:rPr lang="es-ES_tradnl" dirty="0"/>
              <a:t> </a:t>
            </a:r>
            <a:r>
              <a:rPr lang="es-ES_tradnl" dirty="0" err="1"/>
              <a:t>styles</a:t>
            </a:r>
            <a:endParaRPr lang="es-ES_tradnl" dirty="0"/>
          </a:p>
          <a:p>
            <a:pPr lvl="1" latinLnBrk="0"/>
            <a:r>
              <a:rPr lang="es-ES_tradnl" dirty="0" err="1"/>
              <a:t>Secon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2" latinLnBrk="0"/>
            <a:r>
              <a:rPr lang="es-ES_tradnl" dirty="0" err="1"/>
              <a:t>Thir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3" latinLnBrk="0"/>
            <a:r>
              <a:rPr lang="es-ES_tradnl" dirty="0" err="1"/>
              <a:t>Four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4" latinLnBrk="0"/>
            <a:r>
              <a:rPr lang="es-ES_tradnl" dirty="0" err="1"/>
              <a:t>Fif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124BFDB-AFE1-4F8B-9E6A-70731F42787B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1837" dirty="0" err="1">
              <a:solidFill>
                <a:schemeClr val="tx1"/>
              </a:solidFill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2488B92C-B62F-483A-81B1-052DD2ACC4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65" t="1207" r="17090" b="43908"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181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_tradnl" sz="1632" baseline="0" dirty="0" err="1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3B53F198-9BB3-4822-95B2-2376DE6AF6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4057287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33" imgW="470" imgH="469" progId="TCLayout.ActiveDocument.1">
                  <p:embed/>
                </p:oleObj>
              </mc:Choice>
              <mc:Fallback>
                <p:oleObj name="think-cell Slide" r:id="rId33" imgW="470" imgH="469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3B53F198-9BB3-4822-95B2-2376DE6AF6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>
            <a:extLst>
              <a:ext uri="{FF2B5EF4-FFF2-40B4-BE49-F238E27FC236}">
                <a16:creationId xmlns:a16="http://schemas.microsoft.com/office/drawing/2014/main" id="{4821B9F0-5E1D-46B7-B18C-2D2AE0E930DE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399" b="0" i="0" baseline="0" dirty="0">
              <a:solidFill>
                <a:schemeClr val="tx1"/>
              </a:solidFill>
              <a:latin typeface="EYInterstate Light" panose="02000506000000020004"/>
              <a:ea typeface="+mj-ea"/>
              <a:cs typeface="Arial" panose="020B0604020202020204" pitchFamily="34" charset="0"/>
              <a:sym typeface="EYInterstate Light" panose="02000506000000020004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294200"/>
            <a:ext cx="10972800" cy="590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137920"/>
            <a:ext cx="10972800" cy="494792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7E89FB01-0304-4B7A-83F4-087FD710583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1281250" y="6356350"/>
            <a:ext cx="303055" cy="311150"/>
            <a:chOff x="7110" y="4004"/>
            <a:chExt cx="191" cy="196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4DE1CE93-8A80-4A24-92CA-71C05E4537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0" y="4004"/>
              <a:ext cx="191" cy="70"/>
            </a:xfrm>
            <a:custGeom>
              <a:avLst/>
              <a:gdLst>
                <a:gd name="T0" fmla="*/ 191 w 191"/>
                <a:gd name="T1" fmla="*/ 0 h 70"/>
                <a:gd name="T2" fmla="*/ 0 w 191"/>
                <a:gd name="T3" fmla="*/ 70 h 70"/>
                <a:gd name="T4" fmla="*/ 191 w 191"/>
                <a:gd name="T5" fmla="*/ 36 h 70"/>
                <a:gd name="T6" fmla="*/ 191 w 191"/>
                <a:gd name="T7" fmla="*/ 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1" h="70">
                  <a:moveTo>
                    <a:pt x="191" y="0"/>
                  </a:moveTo>
                  <a:lnTo>
                    <a:pt x="0" y="70"/>
                  </a:lnTo>
                  <a:lnTo>
                    <a:pt x="191" y="36"/>
                  </a:lnTo>
                  <a:lnTo>
                    <a:pt x="191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769AC85D-6BA0-4E5B-A206-FB7E85E0DDB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11" y="4103"/>
              <a:ext cx="78" cy="97"/>
            </a:xfrm>
            <a:custGeom>
              <a:avLst/>
              <a:gdLst>
                <a:gd name="T0" fmla="*/ 30 w 78"/>
                <a:gd name="T1" fmla="*/ 58 h 97"/>
                <a:gd name="T2" fmla="*/ 65 w 78"/>
                <a:gd name="T3" fmla="*/ 58 h 97"/>
                <a:gd name="T4" fmla="*/ 65 w 78"/>
                <a:gd name="T5" fmla="*/ 38 h 97"/>
                <a:gd name="T6" fmla="*/ 30 w 78"/>
                <a:gd name="T7" fmla="*/ 38 h 97"/>
                <a:gd name="T8" fmla="*/ 30 w 78"/>
                <a:gd name="T9" fmla="*/ 22 h 97"/>
                <a:gd name="T10" fmla="*/ 68 w 78"/>
                <a:gd name="T11" fmla="*/ 22 h 97"/>
                <a:gd name="T12" fmla="*/ 55 w 78"/>
                <a:gd name="T13" fmla="*/ 0 h 97"/>
                <a:gd name="T14" fmla="*/ 0 w 78"/>
                <a:gd name="T15" fmla="*/ 0 h 97"/>
                <a:gd name="T16" fmla="*/ 0 w 78"/>
                <a:gd name="T17" fmla="*/ 97 h 97"/>
                <a:gd name="T18" fmla="*/ 78 w 78"/>
                <a:gd name="T19" fmla="*/ 97 h 97"/>
                <a:gd name="T20" fmla="*/ 78 w 78"/>
                <a:gd name="T21" fmla="*/ 74 h 97"/>
                <a:gd name="T22" fmla="*/ 30 w 78"/>
                <a:gd name="T23" fmla="*/ 74 h 97"/>
                <a:gd name="T24" fmla="*/ 30 w 78"/>
                <a:gd name="T25" fmla="*/ 5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7">
                  <a:moveTo>
                    <a:pt x="30" y="58"/>
                  </a:moveTo>
                  <a:lnTo>
                    <a:pt x="65" y="58"/>
                  </a:lnTo>
                  <a:lnTo>
                    <a:pt x="65" y="38"/>
                  </a:lnTo>
                  <a:lnTo>
                    <a:pt x="30" y="38"/>
                  </a:lnTo>
                  <a:lnTo>
                    <a:pt x="30" y="22"/>
                  </a:lnTo>
                  <a:lnTo>
                    <a:pt x="68" y="22"/>
                  </a:lnTo>
                  <a:lnTo>
                    <a:pt x="55" y="0"/>
                  </a:lnTo>
                  <a:lnTo>
                    <a:pt x="0" y="0"/>
                  </a:lnTo>
                  <a:lnTo>
                    <a:pt x="0" y="97"/>
                  </a:lnTo>
                  <a:lnTo>
                    <a:pt x="78" y="97"/>
                  </a:lnTo>
                  <a:lnTo>
                    <a:pt x="78" y="74"/>
                  </a:lnTo>
                  <a:lnTo>
                    <a:pt x="30" y="74"/>
                  </a:lnTo>
                  <a:lnTo>
                    <a:pt x="30" y="58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A99D1FF-A731-4C56-AEC5-4C61FAC7487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6" y="4103"/>
              <a:ext cx="96" cy="97"/>
            </a:xfrm>
            <a:custGeom>
              <a:avLst/>
              <a:gdLst>
                <a:gd name="T0" fmla="*/ 64 w 96"/>
                <a:gd name="T1" fmla="*/ 0 h 97"/>
                <a:gd name="T2" fmla="*/ 48 w 96"/>
                <a:gd name="T3" fmla="*/ 32 h 97"/>
                <a:gd name="T4" fmla="*/ 32 w 96"/>
                <a:gd name="T5" fmla="*/ 0 h 97"/>
                <a:gd name="T6" fmla="*/ 0 w 96"/>
                <a:gd name="T7" fmla="*/ 0 h 97"/>
                <a:gd name="T8" fmla="*/ 33 w 96"/>
                <a:gd name="T9" fmla="*/ 58 h 97"/>
                <a:gd name="T10" fmla="*/ 33 w 96"/>
                <a:gd name="T11" fmla="*/ 97 h 97"/>
                <a:gd name="T12" fmla="*/ 62 w 96"/>
                <a:gd name="T13" fmla="*/ 97 h 97"/>
                <a:gd name="T14" fmla="*/ 62 w 96"/>
                <a:gd name="T15" fmla="*/ 58 h 97"/>
                <a:gd name="T16" fmla="*/ 96 w 96"/>
                <a:gd name="T17" fmla="*/ 0 h 97"/>
                <a:gd name="T18" fmla="*/ 64 w 96"/>
                <a:gd name="T1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7">
                  <a:moveTo>
                    <a:pt x="64" y="0"/>
                  </a:moveTo>
                  <a:lnTo>
                    <a:pt x="48" y="32"/>
                  </a:lnTo>
                  <a:lnTo>
                    <a:pt x="32" y="0"/>
                  </a:lnTo>
                  <a:lnTo>
                    <a:pt x="0" y="0"/>
                  </a:lnTo>
                  <a:lnTo>
                    <a:pt x="33" y="58"/>
                  </a:lnTo>
                  <a:lnTo>
                    <a:pt x="33" y="97"/>
                  </a:lnTo>
                  <a:lnTo>
                    <a:pt x="62" y="97"/>
                  </a:lnTo>
                  <a:lnTo>
                    <a:pt x="62" y="58"/>
                  </a:lnTo>
                  <a:lnTo>
                    <a:pt x="96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2E2E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sz="1799" dirty="0"/>
            </a:p>
          </p:txBody>
        </p:sp>
      </p:grp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7FA7D49F-D989-4CDB-9335-913430F7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28184" y="6471244"/>
            <a:ext cx="1190638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A7100257-1BC6-4873-8F55-DA97C4F73818}" type="datetime3">
              <a:rPr lang="en-US" smtClean="0"/>
              <a:t>13 December 2021</a:t>
            </a:fld>
            <a:endParaRPr lang="en-IN" dirty="0"/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26944631-E8AF-4601-B721-3347E3AFB2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7502" y="6471244"/>
            <a:ext cx="3084493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US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resentation title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1E733AAD-1BCD-417D-A2A4-521F133E28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16900" y="6471244"/>
            <a:ext cx="662721" cy="180000"/>
          </a:xfrm>
          <a:prstGeom prst="rect">
            <a:avLst/>
          </a:prstGeom>
        </p:spPr>
        <p:txBody>
          <a:bodyPr/>
          <a:lstStyle>
            <a:lvl1pPr marL="0" algn="l" defTabSz="913943" rtl="0" eaLnBrk="1" latinLnBrk="0" hangingPunct="1">
              <a:defRPr lang="en-GB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IN" dirty="0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48684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  <p:sldLayoutId id="2147483833" r:id="rId22"/>
    <p:sldLayoutId id="2147483834" r:id="rId23"/>
    <p:sldLayoutId id="2147483835" r:id="rId24"/>
    <p:sldLayoutId id="2147483836" r:id="rId25"/>
    <p:sldLayoutId id="2147483837" r:id="rId26"/>
    <p:sldLayoutId id="2147483838" r:id="rId27"/>
    <p:sldLayoutId id="2147483841" r:id="rId28"/>
  </p:sldLayoutIdLst>
  <p:hf hdr="0"/>
  <p:txStyles>
    <p:titleStyle>
      <a:lvl1pPr algn="l" defTabSz="913943" rtl="0" eaLnBrk="1" latinLnBrk="0" hangingPunct="1">
        <a:lnSpc>
          <a:spcPct val="85000"/>
        </a:lnSpc>
        <a:spcBef>
          <a:spcPct val="0"/>
        </a:spcBef>
        <a:buNone/>
        <a:defRPr sz="2399" b="0" kern="1200">
          <a:solidFill>
            <a:schemeClr val="bg1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35643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9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712875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7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1069313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5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425751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3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782188" indent="-356438" algn="l" defTabSz="913943" rtl="0" eaLnBrk="1" latinLnBrk="0" hangingPunct="1">
        <a:spcBef>
          <a:spcPct val="20000"/>
        </a:spcBef>
        <a:buClr>
          <a:schemeClr val="tx2"/>
        </a:buClr>
        <a:buSzPct val="70000"/>
        <a:buFont typeface="Arial" pitchFamily="34" charset="0"/>
        <a:buChar char="►"/>
        <a:defRPr sz="1199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2513343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314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286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8pPr>
      <a:lvl9pPr marL="3884257" indent="-228486" algn="l" defTabSz="913943" rtl="0" eaLnBrk="1" latinLnBrk="0" hangingPunct="1">
        <a:spcBef>
          <a:spcPct val="20000"/>
        </a:spcBef>
        <a:buFont typeface="Arial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5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176" dirty="0">
              <a:solidFill>
                <a:srgbClr val="3F3F3F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513775" y="234865"/>
            <a:ext cx="10890740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endParaRPr lang="es-ES_tradnl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513775" y="77303"/>
            <a:ext cx="51193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s-ES_tradnl" sz="816" cap="all" dirty="0" err="1">
                <a:solidFill>
                  <a:srgbClr val="808080"/>
                </a:solidFill>
              </a:rPr>
              <a:t>Tracker</a:t>
            </a:r>
            <a:endParaRPr lang="es-ES_tradnl" sz="816" cap="all" dirty="0">
              <a:solidFill>
                <a:srgbClr val="808080"/>
              </a:solidFill>
            </a:endParaRP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513775" y="566136"/>
            <a:ext cx="1089074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1632" dirty="0" err="1">
                <a:solidFill>
                  <a:srgbClr val="808080"/>
                </a:solidFill>
                <a:latin typeface="Arial"/>
              </a:rPr>
              <a:t>Subtitle</a:t>
            </a:r>
            <a:endParaRPr lang="es-ES_tradnl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5" y="6204849"/>
            <a:ext cx="1163045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7465" indent="-8746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_tradnl" sz="816" dirty="0">
                <a:solidFill>
                  <a:srgbClr val="808080"/>
                </a:solidFill>
                <a:latin typeface="Arial"/>
              </a:rPr>
              <a:t>1 </a:t>
            </a:r>
            <a:r>
              <a:rPr lang="es-ES_tradnl" sz="816" dirty="0" err="1">
                <a:solidFill>
                  <a:srgbClr val="808080"/>
                </a:solidFill>
                <a:latin typeface="Arial"/>
              </a:rPr>
              <a:t>Footnote</a:t>
            </a:r>
            <a:endParaRPr lang="es-ES_tradnl" sz="816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5" y="6410557"/>
            <a:ext cx="10155320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503735" indent="-503735" defTabSz="1218095" fontAlgn="base">
              <a:spcBef>
                <a:spcPct val="0"/>
              </a:spcBef>
              <a:spcAft>
                <a:spcPct val="0"/>
              </a:spcAft>
            </a:pPr>
            <a:r>
              <a:rPr lang="es-ES_tradnl" sz="816" dirty="0">
                <a:solidFill>
                  <a:srgbClr val="808080"/>
                </a:solidFill>
              </a:rPr>
              <a:t>FUENTE: Análisis equipo de trabajo</a:t>
            </a:r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976207" y="1270343"/>
            <a:ext cx="5801188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632" b="1" dirty="0" err="1">
                  <a:solidFill>
                    <a:srgbClr val="3F3F3F"/>
                  </a:solidFill>
                </a:rPr>
                <a:t>Title</a:t>
              </a:r>
              <a:endParaRPr lang="es-ES_tradnl" sz="1632" b="1" dirty="0">
                <a:solidFill>
                  <a:srgbClr val="3F3F3F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632" dirty="0" err="1">
                  <a:solidFill>
                    <a:srgbClr val="808080"/>
                  </a:solidFill>
                </a:rPr>
                <a:t>Unit</a:t>
              </a:r>
              <a:r>
                <a:rPr lang="es-ES_tradnl" sz="1632" dirty="0">
                  <a:solidFill>
                    <a:srgbClr val="808080"/>
                  </a:solidFill>
                </a:rPr>
                <a:t> </a:t>
              </a:r>
              <a:r>
                <a:rPr lang="es-ES_tradnl" sz="1632" dirty="0" err="1">
                  <a:solidFill>
                    <a:srgbClr val="808080"/>
                  </a:solidFill>
                </a:rPr>
                <a:t>of</a:t>
              </a:r>
              <a:r>
                <a:rPr lang="es-ES_tradnl" sz="1632" dirty="0">
                  <a:solidFill>
                    <a:srgbClr val="808080"/>
                  </a:solidFill>
                </a:rPr>
                <a:t> </a:t>
              </a:r>
              <a:r>
                <a:rPr lang="es-ES_tradnl" sz="1632" dirty="0" err="1">
                  <a:solidFill>
                    <a:srgbClr val="808080"/>
                  </a:solidFill>
                </a:rPr>
                <a:t>measure</a:t>
              </a:r>
              <a:endParaRPr lang="es-ES_tradnl" sz="1632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501639" y="291554"/>
            <a:ext cx="492770" cy="156360"/>
            <a:chOff x="8378576" y="285750"/>
            <a:chExt cx="362199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78576" y="285750"/>
              <a:ext cx="362199" cy="1532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095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78576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78576" y="438997"/>
              <a:ext cx="36219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Boxes" hidden="1"/>
          <p:cNvGrpSpPr/>
          <p:nvPr userDrawn="1"/>
        </p:nvGrpSpPr>
        <p:grpSpPr bwMode="gray">
          <a:xfrm>
            <a:off x="11108191" y="285075"/>
            <a:ext cx="789093" cy="1021522"/>
            <a:chOff x="7835905" y="279400"/>
            <a:chExt cx="773373" cy="1001186"/>
          </a:xfrm>
        </p:grpSpPr>
        <p:sp>
          <p:nvSpPr>
            <p:cNvPr id="24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1632" dirty="0">
                <a:solidFill>
                  <a:srgbClr val="3F3F3F"/>
                </a:solidFill>
              </a:endParaRPr>
            </a:p>
          </p:txBody>
        </p:sp>
        <p:sp>
          <p:nvSpPr>
            <p:cNvPr id="25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1632" dirty="0">
                <a:solidFill>
                  <a:srgbClr val="3F3F3F"/>
                </a:solidFill>
              </a:endParaRPr>
            </a:p>
          </p:txBody>
        </p:sp>
        <p:sp>
          <p:nvSpPr>
            <p:cNvPr id="26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1632" dirty="0">
                <a:solidFill>
                  <a:srgbClr val="3F3F3F"/>
                </a:solidFill>
              </a:endParaRPr>
            </a:p>
          </p:txBody>
        </p:sp>
        <p:sp>
          <p:nvSpPr>
            <p:cNvPr id="27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1632" dirty="0">
                <a:solidFill>
                  <a:srgbClr val="3F3F3F"/>
                </a:solidFill>
              </a:endParaRPr>
            </a:p>
          </p:txBody>
        </p:sp>
        <p:sp>
          <p:nvSpPr>
            <p:cNvPr id="28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</p:grpSp>
      <p:grpSp>
        <p:nvGrpSpPr>
          <p:cNvPr id="32" name="LegendLines" hidden="1"/>
          <p:cNvGrpSpPr/>
          <p:nvPr userDrawn="1"/>
        </p:nvGrpSpPr>
        <p:grpSpPr bwMode="gray">
          <a:xfrm>
            <a:off x="10794126" y="285075"/>
            <a:ext cx="1103328" cy="749405"/>
            <a:chOff x="7540629" y="279400"/>
            <a:chExt cx="1081348" cy="73448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1632" dirty="0">
                <a:solidFill>
                  <a:srgbClr val="3F3F3F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1632" dirty="0">
                <a:solidFill>
                  <a:srgbClr val="3F3F3F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s-ES_tradnl" sz="1632" dirty="0">
                <a:solidFill>
                  <a:srgbClr val="3F3F3F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</p:grpSp>
      <p:grpSp>
        <p:nvGrpSpPr>
          <p:cNvPr id="39" name="LegendMoons" hidden="1"/>
          <p:cNvGrpSpPr/>
          <p:nvPr userDrawn="1"/>
        </p:nvGrpSpPr>
        <p:grpSpPr bwMode="gray">
          <a:xfrm>
            <a:off x="11040160" y="255920"/>
            <a:ext cx="857123" cy="1333054"/>
            <a:chOff x="7769225" y="250825"/>
            <a:chExt cx="840048" cy="1306516"/>
          </a:xfrm>
        </p:grpSpPr>
        <p:grpSp>
          <p:nvGrpSpPr>
            <p:cNvPr id="4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58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  <p:sp>
            <p:nvSpPr>
              <p:cNvPr id="59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</p:grpSp>
        <p:grpSp>
          <p:nvGrpSpPr>
            <p:cNvPr id="4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6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  <p:sp>
            <p:nvSpPr>
              <p:cNvPr id="57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</p:grpSp>
        <p:grpSp>
          <p:nvGrpSpPr>
            <p:cNvPr id="4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</p:grpSp>
        <p:grpSp>
          <p:nvGrpSpPr>
            <p:cNvPr id="4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2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  <p:sp>
            <p:nvSpPr>
              <p:cNvPr id="53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0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  <p:sp>
            <p:nvSpPr>
              <p:cNvPr id="51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ES_tradnl" sz="1632" dirty="0">
                  <a:solidFill>
                    <a:srgbClr val="3F3F3F"/>
                  </a:solidFill>
                </a:endParaRPr>
              </a:p>
            </p:txBody>
          </p:sp>
        </p:grpSp>
        <p:sp>
          <p:nvSpPr>
            <p:cNvPr id="45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  <p:sp>
          <p:nvSpPr>
            <p:cNvPr id="46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  <p:sp>
          <p:nvSpPr>
            <p:cNvPr id="47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  <p:sp>
          <p:nvSpPr>
            <p:cNvPr id="48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  <p:sp>
          <p:nvSpPr>
            <p:cNvPr id="49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9373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6CBF44"/>
                </a:buClr>
              </a:pPr>
              <a:r>
                <a:rPr lang="es-ES_tradnl" sz="1224" dirty="0" err="1">
                  <a:solidFill>
                    <a:srgbClr val="3F3F3F"/>
                  </a:solidFill>
                </a:rPr>
                <a:t>Legend</a:t>
              </a:r>
              <a:endParaRPr lang="es-ES_tradnl" sz="1224" dirty="0">
                <a:solidFill>
                  <a:srgbClr val="3F3F3F"/>
                </a:solidFill>
              </a:endParaRPr>
            </a:p>
          </p:txBody>
        </p:sp>
      </p:grpSp>
      <p:sp>
        <p:nvSpPr>
          <p:cNvPr id="60" name="SlideBottomBar" hidden="1"/>
          <p:cNvSpPr/>
          <p:nvPr userDrawn="1"/>
        </p:nvSpPr>
        <p:spPr>
          <a:xfrm>
            <a:off x="12003218" y="6639739"/>
            <a:ext cx="4664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ES_tradnl" sz="1632" dirty="0">
              <a:solidFill>
                <a:srgbClr val="3F3F3F"/>
              </a:solidFill>
            </a:endParaRPr>
          </a:p>
        </p:txBody>
      </p:sp>
      <p:sp>
        <p:nvSpPr>
          <p:cNvPr id="61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662475" y="1294705"/>
            <a:ext cx="4389573" cy="13461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s-ES_tradnl" dirty="0" err="1"/>
              <a:t>Edit</a:t>
            </a:r>
            <a:r>
              <a:rPr lang="es-ES_tradnl" dirty="0"/>
              <a:t> Master </a:t>
            </a:r>
            <a:r>
              <a:rPr lang="es-ES_tradnl" dirty="0" err="1"/>
              <a:t>text</a:t>
            </a:r>
            <a:r>
              <a:rPr lang="es-ES_tradnl" dirty="0"/>
              <a:t> </a:t>
            </a:r>
            <a:r>
              <a:rPr lang="es-ES_tradnl" dirty="0" err="1"/>
              <a:t>styles</a:t>
            </a:r>
            <a:endParaRPr lang="es-ES_tradnl" dirty="0"/>
          </a:p>
          <a:p>
            <a:pPr lvl="1" latinLnBrk="0"/>
            <a:r>
              <a:rPr lang="es-ES_tradnl" dirty="0" err="1"/>
              <a:t>Secon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2" latinLnBrk="0"/>
            <a:r>
              <a:rPr lang="es-ES_tradnl" dirty="0" err="1"/>
              <a:t>Third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3" latinLnBrk="0"/>
            <a:r>
              <a:rPr lang="es-ES_tradnl" dirty="0" err="1"/>
              <a:t>Four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  <a:p>
            <a:pPr lvl="4" latinLnBrk="0"/>
            <a:r>
              <a:rPr lang="es-ES_tradnl" dirty="0" err="1"/>
              <a:t>Fifth</a:t>
            </a:r>
            <a:r>
              <a:rPr lang="es-ES_tradnl" dirty="0"/>
              <a:t> </a:t>
            </a:r>
            <a:r>
              <a:rPr lang="es-ES_tradnl" dirty="0" err="1"/>
              <a:t>level</a:t>
            </a:r>
            <a:endParaRPr lang="es-ES_tradnl" dirty="0"/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B124BFDB-AFE1-4F8B-9E6A-70731F42787B}"/>
              </a:ext>
            </a:extLst>
          </p:cNvPr>
          <p:cNvSpPr/>
          <p:nvPr userDrawn="1"/>
        </p:nvSpPr>
        <p:spPr>
          <a:xfrm>
            <a:off x="0" y="6609923"/>
            <a:ext cx="12193930" cy="248078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70000">
                <a:schemeClr val="accent4"/>
              </a:gs>
              <a:gs pos="30000">
                <a:schemeClr val="accent2"/>
              </a:gs>
              <a:gs pos="100000">
                <a:schemeClr val="accent5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CO" sz="1632" dirty="0" err="1">
              <a:solidFill>
                <a:srgbClr val="3F3F3F"/>
              </a:solidFill>
            </a:endParaRPr>
          </a:p>
        </p:txBody>
      </p:sp>
      <p:pic>
        <p:nvPicPr>
          <p:cNvPr id="75" name="Picture 74">
            <a:extLst>
              <a:ext uri="{FF2B5EF4-FFF2-40B4-BE49-F238E27FC236}">
                <a16:creationId xmlns:a16="http://schemas.microsoft.com/office/drawing/2014/main" id="{2488B92C-B62F-483A-81B1-052DD2ACC4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68186" y="-68186"/>
            <a:ext cx="377402" cy="51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3174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</p:sldLayoutIdLst>
  <p:hf hdr="0" ftr="0" dt="0"/>
  <p:txStyles>
    <p:titleStyle>
      <a:lvl1pPr algn="l" defTabSz="1218095" rtl="0" eaLnBrk="1" fontAlgn="base" hangingPunct="1">
        <a:spcBef>
          <a:spcPct val="0"/>
        </a:spcBef>
        <a:spcAft>
          <a:spcPct val="0"/>
        </a:spcAft>
        <a:tabLst>
          <a:tab pos="367156" algn="l"/>
        </a:tabLst>
        <a:defRPr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2pPr>
      <a:lvl3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3pPr>
      <a:lvl4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4pPr>
      <a:lvl5pPr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5pPr>
      <a:lvl6pPr marL="622005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6pPr>
      <a:lvl7pPr marL="1244012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7pPr>
      <a:lvl8pPr marL="1866017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8pPr>
      <a:lvl9pPr marL="2488024" algn="l" defTabSz="1218095" rtl="0" eaLnBrk="1" fontAlgn="base" hangingPunct="1">
        <a:spcBef>
          <a:spcPct val="0"/>
        </a:spcBef>
        <a:spcAft>
          <a:spcPct val="0"/>
        </a:spcAft>
        <a:defRPr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1pPr>
      <a:lvl2pPr marL="198346" indent="-19467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s-ES_tradnl" sz="1632" baseline="0" dirty="0" err="1">
          <a:solidFill>
            <a:schemeClr val="tx1"/>
          </a:solidFill>
          <a:latin typeface="+mn-lt"/>
          <a:ea typeface="+mn-ea"/>
          <a:cs typeface="+mn-cs"/>
        </a:defRPr>
      </a:lvl2pPr>
      <a:lvl3pPr marL="455462" indent="-253443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3pPr>
      <a:lvl4pPr marL="628097" indent="-157942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4pPr>
      <a:lvl5pPr marL="764001" indent="-132231" algn="l" defTabSz="913526" rtl="0" eaLnBrk="1" fontAlgn="base" latinLnBrk="0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US" sz="1632" baseline="0" dirty="0">
          <a:solidFill>
            <a:schemeClr val="tx1"/>
          </a:solidFill>
          <a:latin typeface="+mn-lt"/>
          <a:ea typeface="+mn-ea"/>
          <a:cs typeface="+mn-cs"/>
        </a:defRPr>
      </a:lvl5pPr>
      <a:lvl6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090" indent="-177099" algn="l" defTabSz="12180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05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12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17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024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029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036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041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048" algn="l" defTabSz="124401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069CC916-6A5E-49A0-9841-026EC634B7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3" name="think-cell Slide" r:id="rId17" imgW="470" imgH="469" progId="TCLayout.ActiveDocument.1">
                  <p:embed/>
                </p:oleObj>
              </mc:Choice>
              <mc:Fallback>
                <p:oleObj name="think-cell Slide" r:id="rId17" imgW="470" imgH="469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069CC916-6A5E-49A0-9841-026EC634B7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>
            <a:extLst>
              <a:ext uri="{FF2B5EF4-FFF2-40B4-BE49-F238E27FC236}">
                <a16:creationId xmlns:a16="http://schemas.microsoft.com/office/drawing/2014/main" id="{3F877230-2358-4AEF-B5F0-0903970E4A73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4400" dirty="0">
              <a:solidFill>
                <a:prstClr val="white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DADC2518-DDDE-9D4B-B15D-78F9A626F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1A3491A1-57D5-204F-B52A-AD3C59CD47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17233149-60B7-2C41-BFBD-37922506FCE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CAD9691-C8D1-B942-B2B5-DEB57E4FFB1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1AA13912-6320-0841-9BA8-9045B6DE11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4350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5" name="think-cell Slide" r:id="rId18" imgW="353" imgH="353" progId="TCLayout.ActiveDocument.1">
                  <p:embed/>
                </p:oleObj>
              </mc:Choice>
              <mc:Fallback>
                <p:oleObj name="think-cell Slide" r:id="rId18" imgW="353" imgH="353" progId="TCLayout.ActiveDocument.1">
                  <p:embed/>
                  <p:pic>
                    <p:nvPicPr>
                      <p:cNvPr id="8" name="Objeto 7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ángulo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ES_tradnl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4435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s-ES_tradnl">
              <a:solidFill>
                <a:prstClr val="white">
                  <a:lumMod val="8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4435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‹Nº›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50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5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34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9.xml"/><Relationship Id="rId3" Type="http://schemas.openxmlformats.org/officeDocument/2006/relationships/tags" Target="../tags/tag129.xml"/><Relationship Id="rId7" Type="http://schemas.openxmlformats.org/officeDocument/2006/relationships/chart" Target="../charts/chart18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34.vml"/><Relationship Id="rId6" Type="http://schemas.openxmlformats.org/officeDocument/2006/relationships/chart" Target="../charts/chart17.xml"/><Relationship Id="rId11" Type="http://schemas.openxmlformats.org/officeDocument/2006/relationships/chart" Target="../charts/chart20.xml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14.emf"/><Relationship Id="rId4" Type="http://schemas.openxmlformats.org/officeDocument/2006/relationships/slideLayout" Target="../slideLayouts/slideLayout66.xml"/><Relationship Id="rId9" Type="http://schemas.openxmlformats.org/officeDocument/2006/relationships/oleObject" Target="../embeddings/oleObject34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6.xml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7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7" Type="http://schemas.openxmlformats.org/officeDocument/2006/relationships/image" Target="../media/image36.emf"/><Relationship Id="rId2" Type="http://schemas.openxmlformats.org/officeDocument/2006/relationships/tags" Target="../tags/tag132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6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7" Type="http://schemas.openxmlformats.org/officeDocument/2006/relationships/image" Target="../media/image37.emf"/><Relationship Id="rId2" Type="http://schemas.openxmlformats.org/officeDocument/2006/relationships/tags" Target="../tags/tag134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37.bin"/><Relationship Id="rId4" Type="http://schemas.openxmlformats.org/officeDocument/2006/relationships/slideLayout" Target="../slideLayouts/slideLayout6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38.bin"/><Relationship Id="rId4" Type="http://schemas.openxmlformats.org/officeDocument/2006/relationships/slideLayout" Target="../slideLayouts/slideLayout6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8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13" Type="http://schemas.openxmlformats.org/officeDocument/2006/relationships/chart" Target="../charts/chart12.xml"/><Relationship Id="rId3" Type="http://schemas.openxmlformats.org/officeDocument/2006/relationships/tags" Target="../tags/tag123.xml"/><Relationship Id="rId7" Type="http://schemas.openxmlformats.org/officeDocument/2006/relationships/image" Target="../media/image24.emf"/><Relationship Id="rId12" Type="http://schemas.openxmlformats.org/officeDocument/2006/relationships/chart" Target="../charts/chart11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chart" Target="../charts/chart10.xml"/><Relationship Id="rId5" Type="http://schemas.openxmlformats.org/officeDocument/2006/relationships/notesSlide" Target="../notesSlides/notesSlide3.xml"/><Relationship Id="rId10" Type="http://schemas.openxmlformats.org/officeDocument/2006/relationships/chart" Target="../charts/chart9.xml"/><Relationship Id="rId4" Type="http://schemas.openxmlformats.org/officeDocument/2006/relationships/slideLayout" Target="../slideLayouts/slideLayout70.xml"/><Relationship Id="rId9" Type="http://schemas.openxmlformats.org/officeDocument/2006/relationships/chart" Target="../charts/char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6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5.xml"/><Relationship Id="rId3" Type="http://schemas.openxmlformats.org/officeDocument/2006/relationships/tags" Target="../tags/tag125.xml"/><Relationship Id="rId7" Type="http://schemas.openxmlformats.org/officeDocument/2006/relationships/image" Target="../media/image24.emf"/><Relationship Id="rId2" Type="http://schemas.openxmlformats.org/officeDocument/2006/relationships/tags" Target="../tags/tag124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tags" Target="../tags/tag127.xml"/><Relationship Id="rId7" Type="http://schemas.openxmlformats.org/officeDocument/2006/relationships/image" Target="../media/image24.emf"/><Relationship Id="rId2" Type="http://schemas.openxmlformats.org/officeDocument/2006/relationships/tags" Target="../tags/tag126.xm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7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3EA1C458-841C-4D4F-A395-02F2E205E2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es-CO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200F7329-202B-4ECE-BA41-2F405A022B3E}"/>
              </a:ext>
            </a:extLst>
          </p:cNvPr>
          <p:cNvSpPr/>
          <p:nvPr/>
        </p:nvSpPr>
        <p:spPr>
          <a:xfrm>
            <a:off x="477634" y="2175808"/>
            <a:ext cx="1401555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s-ES" sz="9600" b="1" dirty="0">
                <a:solidFill>
                  <a:srgbClr val="2B388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9CFEBE72-F3B9-41B4-A753-8F1CA11EE0EA}"/>
              </a:ext>
            </a:extLst>
          </p:cNvPr>
          <p:cNvSpPr/>
          <p:nvPr/>
        </p:nvSpPr>
        <p:spPr>
          <a:xfrm>
            <a:off x="415950" y="3388148"/>
            <a:ext cx="77657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de Inversiones y Financiero 21-23</a:t>
            </a:r>
          </a:p>
          <a:p>
            <a:r>
              <a:rPr lang="es-CO" sz="2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Aprobatorio)</a:t>
            </a:r>
          </a:p>
          <a:p>
            <a:endParaRPr lang="es-CO" sz="2800" b="1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CO" sz="2800" b="1" dirty="0">
              <a:solidFill>
                <a:srgbClr val="E7E6E6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O" sz="2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ciembre 21, 2020</a:t>
            </a:r>
          </a:p>
        </p:txBody>
      </p:sp>
    </p:spTree>
    <p:extLst>
      <p:ext uri="{BB962C8B-B14F-4D97-AF65-F5344CB8AC3E}">
        <p14:creationId xmlns:p14="http://schemas.microsoft.com/office/powerpoint/2010/main" val="42842477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 Rectángulo"/>
          <p:cNvSpPr/>
          <p:nvPr/>
        </p:nvSpPr>
        <p:spPr>
          <a:xfrm>
            <a:off x="1524000" y="144780"/>
            <a:ext cx="9144000" cy="274320"/>
          </a:xfrm>
          <a:prstGeom prst="rect">
            <a:avLst/>
          </a:prstGeom>
          <a:solidFill>
            <a:srgbClr val="245590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s-CO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Estrategia Auditoria de Reservas 2020 – Proyecto Antares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468089" y="496022"/>
            <a:ext cx="5274735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100" b="1" dirty="0">
                <a:latin typeface="Arial" panose="020B0604020202020204" pitchFamily="34" charset="0"/>
                <a:cs typeface="Arial" panose="020B0604020202020204" pitchFamily="34" charset="0"/>
              </a:rPr>
              <a:t>Antecedentes</a:t>
            </a:r>
          </a:p>
          <a:p>
            <a:pPr algn="just"/>
            <a:endParaRPr lang="es-CO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El proyecto Antares inició su evaluación en el mes de Enero/2020; es un proceso que va alineado con la estrategia 2020+ del grupo Ecopetrol; incluye los campos Rancho Hermoso,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Upía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, La Punta, Santo Domingo,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Toy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Totare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 y Andalucía que fueron ofertados en la “Ronda Campos Ecopetrol 2020” proceso por el cual se realizará la venta de los activos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El viernes 3 de Diciembre se inicio la subasta de adjudicación; donde se recibieron ofertas por el Campo La Punta y Santo Domingo. Los otros campos continuarán bajo los derechos de Hocol. La firma de contratos se realizará en Enero/2021 (fecha que se encuentra sujeta a cambios)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Actualmente los activos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Upía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Toy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Totare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 y Andalucía se encuentran cerrados.</a:t>
            </a:r>
          </a:p>
          <a:p>
            <a:pPr algn="just"/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CO" sz="1100" b="1" dirty="0">
                <a:latin typeface="Arial" panose="020B0604020202020204" pitchFamily="34" charset="0"/>
                <a:cs typeface="Arial" panose="020B0604020202020204" pitchFamily="34" charset="0"/>
              </a:rPr>
              <a:t>Proyectos que se matricularon en Cartilla de Inversiones:</a:t>
            </a:r>
          </a:p>
          <a:p>
            <a:pPr algn="just"/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100" u="sng" dirty="0">
                <a:latin typeface="Arial" panose="020B0604020202020204" pitchFamily="34" charset="0"/>
                <a:cs typeface="Arial" panose="020B0604020202020204" pitchFamily="34" charset="0"/>
              </a:rPr>
              <a:t>Rancho Hermoso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: Recientemente el auditor de reservas “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Sproule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” estimó el límite económico de Canacol en Mayo 2025; por lo cual la actividad incremental correspondiente a tres (3)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workovers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 y dos (2)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well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service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 de reactivación que se ejecutarán en el segundo semestre del 2025, una vez la participación y autonomía en la inversión sea 100% Hocol. Esta ejecución representa 0.996 MMBOE de reservas (Auditoria 2020).</a:t>
            </a:r>
          </a:p>
          <a:p>
            <a:pPr algn="just"/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100" u="sng" dirty="0" err="1">
                <a:latin typeface="Arial" panose="020B0604020202020204" pitchFamily="34" charset="0"/>
                <a:cs typeface="Arial" panose="020B0604020202020204" pitchFamily="34" charset="0"/>
              </a:rPr>
              <a:t>Upía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: Su reactivación se contempla para el 2024; por lo tanto la producción base e incremental asociada a cuatro (4)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workovers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 se ejecutará en el primer semestre del mismo año. Para el Bloque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Upía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 se estima un total de reservas 1P netas para Hocol de 0.894 MMBOE (Auditoría 2020).</a:t>
            </a:r>
          </a:p>
        </p:txBody>
      </p:sp>
      <p:sp>
        <p:nvSpPr>
          <p:cNvPr id="4" name="CuadroTexto 5">
            <a:extLst>
              <a:ext uri="{FF2B5EF4-FFF2-40B4-BE49-F238E27FC236}">
                <a16:creationId xmlns:a16="http://schemas.microsoft.com/office/drawing/2014/main" id="{E6FAB45A-B90C-40A8-8299-C624E2EA4FE0}"/>
              </a:ext>
            </a:extLst>
          </p:cNvPr>
          <p:cNvSpPr txBox="1"/>
          <p:nvPr/>
        </p:nvSpPr>
        <p:spPr>
          <a:xfrm>
            <a:off x="6206153" y="326745"/>
            <a:ext cx="5402746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CO" sz="1100" dirty="0">
                <a:latin typeface="Arial" panose="020B0604020202020204" pitchFamily="34" charset="0"/>
                <a:cs typeface="Arial" panose="020B0604020202020204" pitchFamily="34" charset="0"/>
              </a:rPr>
              <a:t>A continuación el balance de reservas de los campos del proyecto Antares</a:t>
            </a:r>
          </a:p>
          <a:p>
            <a:pPr algn="just"/>
            <a:endParaRPr lang="es-CO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s-CO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s-ES" sz="11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s-ES" sz="11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CO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Por regla de los 5 años se perderían las reservas PUD para Rancho Hermoso, quedando tan solo las reservas PNP de los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workover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; y en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Upia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 la producción base e incremental correspondiente a los trabajos de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workover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Se tendría un decremento 1P entre -0.043 y -0.655 MMBOE dependiendo de la estimación del límite económico que defina el auditor en cada una de las categorías de reservas. La anterior estimación contempla la normalización de la Punta y Santo Domingo debido a la venta de sus derechos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es-CO" sz="1100" b="1" dirty="0">
                <a:latin typeface="Arial" panose="020B0604020202020204" pitchFamily="34" charset="0"/>
                <a:cs typeface="Arial" panose="020B0604020202020204" pitchFamily="34" charset="0"/>
              </a:rPr>
              <a:t>Recomendaciones</a:t>
            </a:r>
          </a:p>
          <a:p>
            <a:pPr algn="just"/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indent="-271463" algn="just">
              <a:buFont typeface="Arial" panose="020B0604020202020204" pitchFamily="34" charset="0"/>
              <a:buAutoNum type="arabicPeriod"/>
            </a:pP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No se incluyen en el portafolio de inversiones el Campo La Punta y Santo Domingo debido a que están en proceso de desinversión .</a:t>
            </a:r>
          </a:p>
          <a:p>
            <a:pPr marL="271463" indent="-271463" algn="just">
              <a:buFont typeface="Arial" panose="020B0604020202020204" pitchFamily="34" charset="0"/>
              <a:buAutoNum type="arabicPeriod"/>
            </a:pPr>
            <a:endParaRPr lang="es-ES" sz="1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indent="-271463" algn="just">
              <a:buFont typeface="Arial" panose="020B0604020202020204" pitchFamily="34" charset="0"/>
              <a:buAutoNum type="arabicPeriod"/>
            </a:pP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Al no recibir ofertas de adjudicación por los activos de Rancho Hermoso y </a:t>
            </a:r>
            <a:r>
              <a:rPr lang="es-ES" sz="1100" dirty="0" err="1">
                <a:latin typeface="Arial" panose="020B0604020202020204" pitchFamily="34" charset="0"/>
                <a:cs typeface="Arial" panose="020B0604020202020204" pitchFamily="34" charset="0"/>
              </a:rPr>
              <a:t>Upia</a:t>
            </a:r>
            <a:r>
              <a:rPr lang="es-ES" sz="1100" dirty="0">
                <a:latin typeface="Arial" panose="020B0604020202020204" pitchFamily="34" charset="0"/>
                <a:cs typeface="Arial" panose="020B0604020202020204" pitchFamily="34" charset="0"/>
              </a:rPr>
              <a:t>; se requiere incluir el OPEX para asegurar la continuidad operativa durante vigencia 2021 en Rancho Hermoso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03DAA9-6303-4D9E-8C95-43D8FD083F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14121" y="827855"/>
            <a:ext cx="4314825" cy="131991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9DDE8A9-E31A-4487-97C0-85358B7E95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87181" y="2980378"/>
            <a:ext cx="2136730" cy="116610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C20EA95-E177-4818-B794-86C41C49570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65388" y="2980378"/>
            <a:ext cx="3206781" cy="1166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3219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C380D3A1-AB12-467D-BA2C-992C0C78CA91}"/>
              </a:ext>
            </a:extLst>
          </p:cNvPr>
          <p:cNvSpPr/>
          <p:nvPr/>
        </p:nvSpPr>
        <p:spPr>
          <a:xfrm>
            <a:off x="917575" y="3428999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2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de inversiones 2021-2023</a:t>
            </a:r>
          </a:p>
          <a:p>
            <a:r>
              <a:rPr lang="es-ES" sz="2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loración </a:t>
            </a: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5608569D-C644-4583-B682-922B23AF02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11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193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19">
            <a:extLst>
              <a:ext uri="{FF2B5EF4-FFF2-40B4-BE49-F238E27FC236}">
                <a16:creationId xmlns:a16="http://schemas.microsoft.com/office/drawing/2014/main" id="{DCB4381C-EB07-48A3-8D53-D7913DAC19A7}"/>
              </a:ext>
            </a:extLst>
          </p:cNvPr>
          <p:cNvGraphicFramePr>
            <a:graphicFrameLocks/>
          </p:cNvGraphicFramePr>
          <p:nvPr/>
        </p:nvGraphicFramePr>
        <p:xfrm>
          <a:off x="5746981" y="3790504"/>
          <a:ext cx="6445019" cy="2805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9" name="Gráfico 28">
            <a:extLst>
              <a:ext uri="{FF2B5EF4-FFF2-40B4-BE49-F238E27FC236}">
                <a16:creationId xmlns:a16="http://schemas.microsoft.com/office/drawing/2014/main" id="{4BE663BF-4C78-42A9-B972-9BAEEBF86248}"/>
              </a:ext>
            </a:extLst>
          </p:cNvPr>
          <p:cNvGraphicFramePr>
            <a:graphicFrameLocks/>
          </p:cNvGraphicFramePr>
          <p:nvPr/>
        </p:nvGraphicFramePr>
        <p:xfrm>
          <a:off x="6255232" y="1239772"/>
          <a:ext cx="5206833" cy="19225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Gráfico 24">
            <a:extLst>
              <a:ext uri="{FF2B5EF4-FFF2-40B4-BE49-F238E27FC236}">
                <a16:creationId xmlns:a16="http://schemas.microsoft.com/office/drawing/2014/main" id="{8519A96E-6148-44E2-89C2-020D9DD63BAB}"/>
              </a:ext>
            </a:extLst>
          </p:cNvPr>
          <p:cNvGraphicFramePr>
            <a:graphicFrameLocks/>
          </p:cNvGraphicFramePr>
          <p:nvPr/>
        </p:nvGraphicFramePr>
        <p:xfrm>
          <a:off x="83698" y="1130735"/>
          <a:ext cx="4724410" cy="21882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F7FEB280-5B6D-4232-89C9-ECB705CF6B8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5"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F7FEB280-5B6D-4232-89C9-ECB705CF6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>
            <a:extLst>
              <a:ext uri="{FF2B5EF4-FFF2-40B4-BE49-F238E27FC236}">
                <a16:creationId xmlns:a16="http://schemas.microsoft.com/office/drawing/2014/main" id="{44314106-9BC3-49A7-94B7-AD9DAFF5A5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O" sz="1000" dirty="0">
              <a:sym typeface="+mn-lt"/>
            </a:endParaRPr>
          </a:p>
        </p:txBody>
      </p:sp>
      <p:sp>
        <p:nvSpPr>
          <p:cNvPr id="251" name="CuadroTexto 250">
            <a:extLst>
              <a:ext uri="{FF2B5EF4-FFF2-40B4-BE49-F238E27FC236}">
                <a16:creationId xmlns:a16="http://schemas.microsoft.com/office/drawing/2014/main" id="{3890AD17-A049-47E9-B519-D0F4F335AEF7}"/>
              </a:ext>
            </a:extLst>
          </p:cNvPr>
          <p:cNvSpPr txBox="1"/>
          <p:nvPr/>
        </p:nvSpPr>
        <p:spPr>
          <a:xfrm>
            <a:off x="-586688" y="3697277"/>
            <a:ext cx="4656138" cy="307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b="1" i="1" dirty="0"/>
              <a:t>Inversiones por zonas geográficas (MUSD)</a:t>
            </a:r>
            <a:endParaRPr lang="es-CO" sz="1400" b="1" i="1" dirty="0"/>
          </a:p>
        </p:txBody>
      </p:sp>
      <p:cxnSp>
        <p:nvCxnSpPr>
          <p:cNvPr id="307" name="Conector recto 306">
            <a:extLst>
              <a:ext uri="{FF2B5EF4-FFF2-40B4-BE49-F238E27FC236}">
                <a16:creationId xmlns:a16="http://schemas.microsoft.com/office/drawing/2014/main" id="{EB2389D0-B854-4EDB-AAF1-2F58929F7DA6}"/>
              </a:ext>
            </a:extLst>
          </p:cNvPr>
          <p:cNvCxnSpPr>
            <a:cxnSpLocks/>
          </p:cNvCxnSpPr>
          <p:nvPr/>
        </p:nvCxnSpPr>
        <p:spPr>
          <a:xfrm flipH="1">
            <a:off x="6130324" y="939272"/>
            <a:ext cx="1" cy="5595752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0" name="CuadroTexto 439">
            <a:extLst>
              <a:ext uri="{FF2B5EF4-FFF2-40B4-BE49-F238E27FC236}">
                <a16:creationId xmlns:a16="http://schemas.microsoft.com/office/drawing/2014/main" id="{7ECBBC34-31B0-4D13-8695-611F3E699436}"/>
              </a:ext>
            </a:extLst>
          </p:cNvPr>
          <p:cNvSpPr txBox="1"/>
          <p:nvPr/>
        </p:nvSpPr>
        <p:spPr>
          <a:xfrm>
            <a:off x="-1028306" y="872621"/>
            <a:ext cx="4622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>
              <a:defRPr sz="1400" b="1" i="1"/>
            </a:lvl1pPr>
          </a:lstStyle>
          <a:p>
            <a:pPr algn="ctr"/>
            <a:r>
              <a:rPr lang="es-ES" dirty="0"/>
              <a:t>Inversiones totales (MUSD)</a:t>
            </a:r>
            <a:endParaRPr lang="es-CO" dirty="0"/>
          </a:p>
        </p:txBody>
      </p:sp>
      <p:sp>
        <p:nvSpPr>
          <p:cNvPr id="441" name="CuadroTexto 440">
            <a:extLst>
              <a:ext uri="{FF2B5EF4-FFF2-40B4-BE49-F238E27FC236}">
                <a16:creationId xmlns:a16="http://schemas.microsoft.com/office/drawing/2014/main" id="{A0018F89-F488-48D2-A11B-473F94B65B87}"/>
              </a:ext>
            </a:extLst>
          </p:cNvPr>
          <p:cNvSpPr txBox="1"/>
          <p:nvPr/>
        </p:nvSpPr>
        <p:spPr>
          <a:xfrm>
            <a:off x="5090336" y="872153"/>
            <a:ext cx="47244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>
              <a:defRPr sz="1400" b="1" i="1"/>
            </a:lvl1pPr>
          </a:lstStyle>
          <a:p>
            <a:pPr algn="ctr"/>
            <a:r>
              <a:rPr lang="es-ES" dirty="0"/>
              <a:t>Actividad total (No. de Pozos)</a:t>
            </a:r>
            <a:endParaRPr lang="es-CO" dirty="0"/>
          </a:p>
        </p:txBody>
      </p:sp>
      <p:sp>
        <p:nvSpPr>
          <p:cNvPr id="28" name="Título 1">
            <a:extLst>
              <a:ext uri="{FF2B5EF4-FFF2-40B4-BE49-F238E27FC236}">
                <a16:creationId xmlns:a16="http://schemas.microsoft.com/office/drawing/2014/main" id="{88967997-8A4B-44B5-BC84-23FAA85217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417" y="210233"/>
            <a:ext cx="10515600" cy="651463"/>
          </a:xfrm>
        </p:spPr>
        <p:txBody>
          <a:bodyPr/>
          <a:lstStyle/>
          <a:p>
            <a:pPr>
              <a:spcBef>
                <a:spcPts val="1000"/>
              </a:spcBef>
            </a:pPr>
            <a:r>
              <a:rPr lang="es-ES" sz="36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 de inversiones 2021-2023 Exploración  </a:t>
            </a:r>
            <a:endParaRPr lang="es-CO" sz="36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" name="Conector recto 20">
            <a:extLst>
              <a:ext uri="{FF2B5EF4-FFF2-40B4-BE49-F238E27FC236}">
                <a16:creationId xmlns:a16="http://schemas.microsoft.com/office/drawing/2014/main" id="{811C77AD-817F-497A-89D1-926707E59404}"/>
              </a:ext>
            </a:extLst>
          </p:cNvPr>
          <p:cNvCxnSpPr>
            <a:cxnSpLocks/>
          </p:cNvCxnSpPr>
          <p:nvPr/>
        </p:nvCxnSpPr>
        <p:spPr>
          <a:xfrm>
            <a:off x="220417" y="3562082"/>
            <a:ext cx="11666783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CuadroTexto 23">
            <a:extLst>
              <a:ext uri="{FF2B5EF4-FFF2-40B4-BE49-F238E27FC236}">
                <a16:creationId xmlns:a16="http://schemas.microsoft.com/office/drawing/2014/main" id="{9AD39B17-4CCE-4408-88D3-897203675EF8}"/>
              </a:ext>
            </a:extLst>
          </p:cNvPr>
          <p:cNvSpPr txBox="1"/>
          <p:nvPr/>
        </p:nvSpPr>
        <p:spPr>
          <a:xfrm>
            <a:off x="5188518" y="3694367"/>
            <a:ext cx="47244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>
              <a:defRPr sz="1400" b="1" i="1"/>
            </a:lvl1pPr>
          </a:lstStyle>
          <a:p>
            <a:pPr algn="ctr"/>
            <a:r>
              <a:rPr lang="es-ES" dirty="0"/>
              <a:t>Inversiones por categoría ( MUSD)</a:t>
            </a:r>
            <a:endParaRPr lang="es-CO" dirty="0"/>
          </a:p>
        </p:txBody>
      </p:sp>
      <p:sp>
        <p:nvSpPr>
          <p:cNvPr id="32" name="TextBox 1">
            <a:extLst>
              <a:ext uri="{FF2B5EF4-FFF2-40B4-BE49-F238E27FC236}">
                <a16:creationId xmlns:a16="http://schemas.microsoft.com/office/drawing/2014/main" id="{4C81B90E-F5D5-4048-9D3D-C86559081A20}"/>
              </a:ext>
            </a:extLst>
          </p:cNvPr>
          <p:cNvSpPr txBox="1"/>
          <p:nvPr/>
        </p:nvSpPr>
        <p:spPr>
          <a:xfrm>
            <a:off x="5582954" y="6412222"/>
            <a:ext cx="5153063" cy="24560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ES" sz="900" b="1" dirty="0"/>
              <a:t>                                                    2021                                                2022                                              2023</a:t>
            </a:r>
          </a:p>
        </p:txBody>
      </p:sp>
      <p:graphicFrame>
        <p:nvGraphicFramePr>
          <p:cNvPr id="30" name="Chart 19">
            <a:extLst>
              <a:ext uri="{FF2B5EF4-FFF2-40B4-BE49-F238E27FC236}">
                <a16:creationId xmlns:a16="http://schemas.microsoft.com/office/drawing/2014/main" id="{06306934-B44A-463A-94B9-BA4C54E7B30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2099181"/>
              </p:ext>
            </p:extLst>
          </p:nvPr>
        </p:nvGraphicFramePr>
        <p:xfrm>
          <a:off x="68648" y="3598418"/>
          <a:ext cx="5905959" cy="30768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E0F9DF72-3685-4EAC-A6FE-6C20777E9BE6}"/>
              </a:ext>
            </a:extLst>
          </p:cNvPr>
          <p:cNvSpPr txBox="1"/>
          <p:nvPr/>
        </p:nvSpPr>
        <p:spPr>
          <a:xfrm>
            <a:off x="8159485" y="1332178"/>
            <a:ext cx="74348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900" dirty="0" err="1"/>
              <a:t>Basari</a:t>
            </a:r>
            <a:endParaRPr lang="es-CO" sz="900" dirty="0"/>
          </a:p>
          <a:p>
            <a:r>
              <a:rPr lang="es-CO" sz="900" dirty="0" err="1"/>
              <a:t>Cha</a:t>
            </a:r>
            <a:r>
              <a:rPr lang="es-CO" sz="900" dirty="0"/>
              <a:t> </a:t>
            </a:r>
            <a:r>
              <a:rPr lang="es-CO" sz="900" dirty="0" err="1"/>
              <a:t>cha</a:t>
            </a:r>
            <a:r>
              <a:rPr lang="es-CO" sz="900" dirty="0"/>
              <a:t> 4</a:t>
            </a:r>
          </a:p>
          <a:p>
            <a:r>
              <a:rPr lang="es-CO" sz="900" dirty="0" err="1"/>
              <a:t>Cha</a:t>
            </a:r>
            <a:r>
              <a:rPr lang="es-CO" sz="900" dirty="0"/>
              <a:t> </a:t>
            </a:r>
            <a:r>
              <a:rPr lang="es-CO" sz="900" dirty="0" err="1"/>
              <a:t>cha</a:t>
            </a:r>
            <a:r>
              <a:rPr lang="es-CO" sz="900" dirty="0"/>
              <a:t> 5</a:t>
            </a:r>
          </a:p>
        </p:txBody>
      </p:sp>
      <p:sp>
        <p:nvSpPr>
          <p:cNvPr id="4" name="Bocadillo: rectángulo 3">
            <a:extLst>
              <a:ext uri="{FF2B5EF4-FFF2-40B4-BE49-F238E27FC236}">
                <a16:creationId xmlns:a16="http://schemas.microsoft.com/office/drawing/2014/main" id="{495B50E9-69A7-4109-B889-3F4DBB059CE7}"/>
              </a:ext>
            </a:extLst>
          </p:cNvPr>
          <p:cNvSpPr/>
          <p:nvPr/>
        </p:nvSpPr>
        <p:spPr>
          <a:xfrm>
            <a:off x="8159485" y="1332178"/>
            <a:ext cx="822145" cy="507831"/>
          </a:xfrm>
          <a:prstGeom prst="wedgeRectCallout">
            <a:avLst>
              <a:gd name="adj1" fmla="val -16675"/>
              <a:gd name="adj2" fmla="val 141592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219A59B3-429A-43B4-A154-554D132BC70C}"/>
              </a:ext>
            </a:extLst>
          </p:cNvPr>
          <p:cNvSpPr txBox="1"/>
          <p:nvPr/>
        </p:nvSpPr>
        <p:spPr>
          <a:xfrm>
            <a:off x="6222272" y="3248211"/>
            <a:ext cx="52727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/>
              <a:t>Por restricción de caja se desplaza actividad en el tiempo</a:t>
            </a: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79F82971-793B-4040-A309-FEA8016C5B94}"/>
              </a:ext>
            </a:extLst>
          </p:cNvPr>
          <p:cNvSpPr/>
          <p:nvPr/>
        </p:nvSpPr>
        <p:spPr>
          <a:xfrm>
            <a:off x="95510" y="2580830"/>
            <a:ext cx="1297454" cy="4785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0" name="Rectángulo 19">
            <a:extLst>
              <a:ext uri="{FF2B5EF4-FFF2-40B4-BE49-F238E27FC236}">
                <a16:creationId xmlns:a16="http://schemas.microsoft.com/office/drawing/2014/main" id="{25FC7BBF-2A92-4701-9C90-A4644354BEB7}"/>
              </a:ext>
            </a:extLst>
          </p:cNvPr>
          <p:cNvSpPr/>
          <p:nvPr/>
        </p:nvSpPr>
        <p:spPr>
          <a:xfrm>
            <a:off x="3176" y="5980103"/>
            <a:ext cx="1297454" cy="4785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A1C4D7BD-3FBF-4C93-BBF0-9E5D62C6D527}"/>
              </a:ext>
            </a:extLst>
          </p:cNvPr>
          <p:cNvSpPr/>
          <p:nvPr/>
        </p:nvSpPr>
        <p:spPr>
          <a:xfrm>
            <a:off x="6329996" y="2398038"/>
            <a:ext cx="1297454" cy="47856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41622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Gráfico 22">
            <a:extLst>
              <a:ext uri="{FF2B5EF4-FFF2-40B4-BE49-F238E27FC236}">
                <a16:creationId xmlns:a16="http://schemas.microsoft.com/office/drawing/2014/main" id="{DFF12A48-7C95-40E1-9825-F49811CA0CEA}"/>
              </a:ext>
            </a:extLst>
          </p:cNvPr>
          <p:cNvGraphicFramePr>
            <a:graphicFrameLocks/>
          </p:cNvGraphicFramePr>
          <p:nvPr/>
        </p:nvGraphicFramePr>
        <p:xfrm>
          <a:off x="7388025" y="1052360"/>
          <a:ext cx="4680821" cy="54949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B555BFFE-30EE-4F35-B802-51520CACC9B5}"/>
              </a:ext>
            </a:extLst>
          </p:cNvPr>
          <p:cNvCxnSpPr>
            <a:cxnSpLocks/>
          </p:cNvCxnSpPr>
          <p:nvPr/>
        </p:nvCxnSpPr>
        <p:spPr>
          <a:xfrm>
            <a:off x="19050" y="4149127"/>
            <a:ext cx="33338" cy="274002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ítulo 1">
            <a:extLst>
              <a:ext uri="{FF2B5EF4-FFF2-40B4-BE49-F238E27FC236}">
                <a16:creationId xmlns:a16="http://schemas.microsoft.com/office/drawing/2014/main" id="{765785A0-1433-494A-BFE6-46C721C642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417" y="210233"/>
            <a:ext cx="10515600" cy="651463"/>
          </a:xfrm>
        </p:spPr>
        <p:txBody>
          <a:bodyPr>
            <a:normAutofit fontScale="90000"/>
          </a:bodyPr>
          <a:lstStyle/>
          <a:p>
            <a:pPr>
              <a:spcBef>
                <a:spcPts val="1000"/>
              </a:spcBef>
            </a:pPr>
            <a:r>
              <a:rPr lang="es-ES" sz="36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 de inversiones 2021-2023</a:t>
            </a:r>
            <a:br>
              <a:rPr lang="es-ES" sz="36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es-ES" sz="36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foración</a:t>
            </a:r>
            <a:endParaRPr lang="es-CO" sz="36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F8612090-454E-4316-99C6-E70C199B12F7}"/>
              </a:ext>
            </a:extLst>
          </p:cNvPr>
          <p:cNvSpPr/>
          <p:nvPr/>
        </p:nvSpPr>
        <p:spPr>
          <a:xfrm>
            <a:off x="78311" y="975928"/>
            <a:ext cx="6896537" cy="2714075"/>
          </a:xfrm>
          <a:prstGeom prst="rect">
            <a:avLst/>
          </a:prstGeom>
          <a:noFill/>
          <a:ln w="3175">
            <a:solidFill>
              <a:srgbClr val="2B38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4" name="Rectángulo 13">
            <a:extLst>
              <a:ext uri="{FF2B5EF4-FFF2-40B4-BE49-F238E27FC236}">
                <a16:creationId xmlns:a16="http://schemas.microsoft.com/office/drawing/2014/main" id="{F8191B70-D34F-4B2B-AF39-3D9DF7D0CB60}"/>
              </a:ext>
            </a:extLst>
          </p:cNvPr>
          <p:cNvSpPr/>
          <p:nvPr/>
        </p:nvSpPr>
        <p:spPr>
          <a:xfrm>
            <a:off x="78312" y="3811190"/>
            <a:ext cx="6896536" cy="2821246"/>
          </a:xfrm>
          <a:prstGeom prst="rect">
            <a:avLst/>
          </a:prstGeom>
          <a:noFill/>
          <a:ln w="3175">
            <a:solidFill>
              <a:srgbClr val="2B38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25E38988-2D12-484B-9039-47BBC82DA94F}"/>
              </a:ext>
            </a:extLst>
          </p:cNvPr>
          <p:cNvSpPr/>
          <p:nvPr/>
        </p:nvSpPr>
        <p:spPr>
          <a:xfrm>
            <a:off x="7604023" y="975928"/>
            <a:ext cx="4035311" cy="5656508"/>
          </a:xfrm>
          <a:prstGeom prst="rect">
            <a:avLst/>
          </a:prstGeom>
          <a:noFill/>
          <a:ln w="3175">
            <a:solidFill>
              <a:srgbClr val="2B38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67203407-5939-4BB3-A6B2-972BD306DEA4}"/>
              </a:ext>
            </a:extLst>
          </p:cNvPr>
          <p:cNvSpPr/>
          <p:nvPr/>
        </p:nvSpPr>
        <p:spPr>
          <a:xfrm>
            <a:off x="8208031" y="6259800"/>
            <a:ext cx="884550" cy="1677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F6D35945-9C83-48F6-AA8F-E2CA452D317C}"/>
              </a:ext>
            </a:extLst>
          </p:cNvPr>
          <p:cNvSpPr txBox="1"/>
          <p:nvPr/>
        </p:nvSpPr>
        <p:spPr>
          <a:xfrm>
            <a:off x="10201013" y="109057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CO" dirty="0"/>
          </a:p>
        </p:txBody>
      </p:sp>
      <p:graphicFrame>
        <p:nvGraphicFramePr>
          <p:cNvPr id="20" name="Gráfico 19">
            <a:extLst>
              <a:ext uri="{FF2B5EF4-FFF2-40B4-BE49-F238E27FC236}">
                <a16:creationId xmlns:a16="http://schemas.microsoft.com/office/drawing/2014/main" id="{F27280EE-EC12-43D2-9BDF-5ABAC7C0DDFA}"/>
              </a:ext>
            </a:extLst>
          </p:cNvPr>
          <p:cNvGraphicFramePr>
            <a:graphicFrameLocks/>
          </p:cNvGraphicFramePr>
          <p:nvPr/>
        </p:nvGraphicFramePr>
        <p:xfrm>
          <a:off x="1177078" y="918245"/>
          <a:ext cx="4400552" cy="28623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Gráfico 20">
            <a:extLst>
              <a:ext uri="{FF2B5EF4-FFF2-40B4-BE49-F238E27FC236}">
                <a16:creationId xmlns:a16="http://schemas.microsoft.com/office/drawing/2014/main" id="{4971123B-BC34-4821-B0F8-D0060F115E9C}"/>
              </a:ext>
            </a:extLst>
          </p:cNvPr>
          <p:cNvGraphicFramePr>
            <a:graphicFrameLocks/>
          </p:cNvGraphicFramePr>
          <p:nvPr/>
        </p:nvGraphicFramePr>
        <p:xfrm>
          <a:off x="945256" y="3754641"/>
          <a:ext cx="5162646" cy="27564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42411889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6F9A89CF-611F-4611-A9A1-EF3CC64306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14</a:t>
            </a:fld>
            <a:endParaRPr lang="es-ES_tradnl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612743" y="1874559"/>
            <a:ext cx="9144000" cy="2387600"/>
          </a:xfrm>
        </p:spPr>
        <p:txBody>
          <a:bodyPr>
            <a:normAutofit/>
          </a:bodyPr>
          <a:lstStyle/>
          <a:p>
            <a:pPr algn="l"/>
            <a:r>
              <a:rPr lang="es-MX" altLang="es-CO" sz="32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ultado Financiero</a:t>
            </a:r>
            <a:br>
              <a:rPr lang="es-MX" altLang="es-CO" sz="32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es-MX" altLang="es-CO" sz="32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lan 2021-2023</a:t>
            </a:r>
            <a:br>
              <a:rPr lang="es-MX" altLang="es-CO" sz="32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es-CO" sz="32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1814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4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1"/>
            <a:ext cx="211667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O" sz="1333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5" name="Title 1"/>
          <p:cNvSpPr txBox="1">
            <a:spLocks/>
          </p:cNvSpPr>
          <p:nvPr/>
        </p:nvSpPr>
        <p:spPr>
          <a:xfrm>
            <a:off x="211667" y="3176"/>
            <a:ext cx="10363200" cy="975235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altLang="es-CO" sz="3200" b="1" dirty="0">
                <a:solidFill>
                  <a:srgbClr val="44546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umen Financiero 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030877" y="978411"/>
            <a:ext cx="6313126" cy="5579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9791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1"/>
            <a:ext cx="211667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CO" sz="1333" dirty="0">
              <a:solidFill>
                <a:prstClr val="white"/>
              </a:solidFill>
              <a:sym typeface="+mn-lt"/>
            </a:endParaRPr>
          </a:p>
        </p:txBody>
      </p:sp>
      <p:sp>
        <p:nvSpPr>
          <p:cNvPr id="55" name="Title 1"/>
          <p:cNvSpPr txBox="1">
            <a:spLocks/>
          </p:cNvSpPr>
          <p:nvPr/>
        </p:nvSpPr>
        <p:spPr>
          <a:xfrm>
            <a:off x="211667" y="3176"/>
            <a:ext cx="10363200" cy="975235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altLang="es-CO" sz="3200" b="1" dirty="0">
                <a:solidFill>
                  <a:srgbClr val="44546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sumen Financiero </a:t>
            </a:r>
            <a:r>
              <a:rPr lang="es-MX" altLang="es-CO" sz="2000" b="1" dirty="0">
                <a:solidFill>
                  <a:srgbClr val="44546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Sensibilidad Rancho Hermoso)</a:t>
            </a:r>
            <a:r>
              <a:rPr lang="es-MX" altLang="es-CO" sz="3200" b="1" dirty="0">
                <a:solidFill>
                  <a:srgbClr val="44546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672770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135"/>
          <a:stretch/>
        </p:blipFill>
        <p:spPr bwMode="auto">
          <a:xfrm>
            <a:off x="2502851" y="490793"/>
            <a:ext cx="7652780" cy="5707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ángulo 1"/>
          <p:cNvSpPr/>
          <p:nvPr/>
        </p:nvSpPr>
        <p:spPr>
          <a:xfrm>
            <a:off x="579549" y="6377933"/>
            <a:ext cx="10882648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s-ES" sz="14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*La solicitud de SG&amp;A para el 2021 es de 62,08 MUSD. Este valor se redujo a 60,3 MUSD por optimización de presupuesto solicitado por casa matriz.</a:t>
            </a:r>
            <a:endParaRPr lang="es-CO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2057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5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s-MX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226" y="-12879"/>
            <a:ext cx="10515600" cy="797529"/>
          </a:xfrm>
        </p:spPr>
        <p:txBody>
          <a:bodyPr>
            <a:normAutofit/>
          </a:bodyPr>
          <a:lstStyle/>
          <a:p>
            <a:r>
              <a:rPr lang="es-MX" altLang="es-CO" sz="32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clusiones</a:t>
            </a:r>
            <a:endParaRPr lang="es-CO" sz="32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Marcador de contenido 4">
            <a:extLst>
              <a:ext uri="{FF2B5EF4-FFF2-40B4-BE49-F238E27FC236}">
                <a16:creationId xmlns:a16="http://schemas.microsoft.com/office/drawing/2014/main" id="{DBFE8C75-CACE-4AA8-82E2-EAE4125C75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226" y="759401"/>
            <a:ext cx="11372005" cy="5358992"/>
          </a:xfrm>
        </p:spPr>
        <p:txBody>
          <a:bodyPr>
            <a:noAutofit/>
          </a:bodyPr>
          <a:lstStyle/>
          <a:p>
            <a:pPr algn="just"/>
            <a:r>
              <a:rPr lang="es-ES" sz="1900" dirty="0"/>
              <a:t>La visión a largo plazo de Hocol es ser una compañía rentable y en crecimiento</a:t>
            </a:r>
          </a:p>
          <a:p>
            <a:pPr algn="just"/>
            <a:r>
              <a:rPr lang="es-ES" sz="1900" dirty="0"/>
              <a:t>Las actividades exploratorias son requeridas para lograr mantener la rentabilidad, contribuir a un crecimiento en el mediano plazo y están alineadas con la estrategia de Hocol   </a:t>
            </a:r>
          </a:p>
          <a:p>
            <a:pPr algn="just"/>
            <a:r>
              <a:rPr lang="es-ES" sz="1900" dirty="0"/>
              <a:t>Somos unos exploradores activos, contamos con un portafolio con alta relevancia estratégica y gran capacidad de generar valor, el cual se espera materializar en el mediano plazo para apalancar el crecimiento </a:t>
            </a:r>
          </a:p>
          <a:p>
            <a:pPr algn="just"/>
            <a:r>
              <a:rPr lang="es-ES" sz="1900" dirty="0"/>
              <a:t>Estamos revisando la estrategia de TESG y se iniciará la implementación en el 2021</a:t>
            </a:r>
          </a:p>
          <a:p>
            <a:pPr algn="just"/>
            <a:r>
              <a:rPr lang="es-ES" sz="1900" dirty="0"/>
              <a:t>La eficiencia en costos se mantiene y  permite mejorar los indicadores de rentabilidad, apalancados en el desarrollo de la metodología de estimación de costos Presupuesto </a:t>
            </a:r>
            <a:r>
              <a:rPr lang="es-ES" sz="1900"/>
              <a:t>Base Cero </a:t>
            </a:r>
            <a:endParaRPr lang="es-ES" sz="1900" dirty="0"/>
          </a:p>
          <a:p>
            <a:pPr algn="just"/>
            <a:r>
              <a:rPr lang="es-ES" sz="1900" dirty="0"/>
              <a:t>El Plan de reservas evidencia un reto de mantener el IRR=100% por aumento de producción</a:t>
            </a:r>
          </a:p>
          <a:p>
            <a:pPr algn="just"/>
            <a:r>
              <a:rPr lang="es-ES" sz="1900" dirty="0"/>
              <a:t>La optimización de portafolio es requerida para el crecimiento y sostenibilidad: La transferencia/adquisición de un activo con alto potencial contribuye al incremento de reservas</a:t>
            </a:r>
          </a:p>
          <a:p>
            <a:pPr algn="just"/>
            <a:r>
              <a:rPr lang="es-ES" sz="1900" dirty="0"/>
              <a:t>El plan de dividendos permite mantener la caja mínima durante el periodo del plan y realizar inversiones rentables con la promesa de valor de garantizar el futuro de la compañía</a:t>
            </a:r>
          </a:p>
          <a:p>
            <a:pPr marL="0" indent="0" algn="just">
              <a:buNone/>
            </a:pPr>
            <a:endParaRPr lang="es-ES" sz="1600" dirty="0"/>
          </a:p>
          <a:p>
            <a:pPr marL="0" indent="0" algn="just">
              <a:buNone/>
            </a:pPr>
            <a:r>
              <a:rPr lang="es-ES" sz="1900" dirty="0"/>
              <a:t>Solicitud:</a:t>
            </a:r>
          </a:p>
          <a:p>
            <a:pPr marL="0" indent="0" algn="just">
              <a:buNone/>
            </a:pPr>
            <a:r>
              <a:rPr lang="es-ES" sz="1900" i="1" dirty="0"/>
              <a:t>Aprobar el plan de inversiones y financiero 21-23 impulsando nuestra aspiración de ser la primera empresa privada de E&amp;P en Colombia en el año 2025 y continuar cumpliendo con nuestro propósito superior de compartir la vida de Colombia.</a:t>
            </a:r>
            <a:endParaRPr lang="es-CO" sz="1900" dirty="0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05B6CAC-CE38-4D59-B93A-D982582EC2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17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9219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5A75E77-C58B-C844-8F78-A6303648D8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8194" y="347922"/>
            <a:ext cx="3769427" cy="578353"/>
          </a:xfrm>
        </p:spPr>
        <p:txBody>
          <a:bodyPr>
            <a:normAutofit fontScale="90000"/>
          </a:bodyPr>
          <a:lstStyle/>
          <a:p>
            <a:endParaRPr lang="es-CO" dirty="0"/>
          </a:p>
        </p:txBody>
      </p:sp>
      <p:pic>
        <p:nvPicPr>
          <p:cNvPr id="7" name="Marcador de contenido 6">
            <a:extLst>
              <a:ext uri="{FF2B5EF4-FFF2-40B4-BE49-F238E27FC236}">
                <a16:creationId xmlns:a16="http://schemas.microsoft.com/office/drawing/2014/main" id="{A4FFB0CB-12E7-2C46-8CF0-458DE821D409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 rotWithShape="1">
          <a:blip r:embed="rId2"/>
          <a:srcRect l="-1" t="892" r="-223" b="41888"/>
          <a:stretch/>
        </p:blipFill>
        <p:spPr>
          <a:xfrm>
            <a:off x="-12526" y="0"/>
            <a:ext cx="12240000" cy="3996000"/>
          </a:xfrm>
          <a:prstGeom prst="rect">
            <a:avLst/>
          </a:prstGeom>
        </p:spPr>
      </p:pic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7483B15C-66E8-6741-8A36-FF3BFD3DBB2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A95CB4-CBEC-8546-83ED-84C4B71A78D6}" type="slidenum">
              <a:rPr kumimoji="0" lang="es-CO" sz="1200" b="1" i="0" u="none" strike="noStrike" kern="1200" cap="none" spc="0" normalizeH="0" baseline="0" noProof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CO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CBE85B52-194A-344E-9AE6-33F9EB4347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2630" y="-78579"/>
            <a:ext cx="12309412" cy="4124486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6434EC5E-7412-B041-AA48-D93DA82138D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71965" y="2931091"/>
            <a:ext cx="9404101" cy="1929008"/>
          </a:xfrm>
          <a:prstGeom prst="rect">
            <a:avLst/>
          </a:prstGeom>
        </p:spPr>
      </p:pic>
      <p:sp>
        <p:nvSpPr>
          <p:cNvPr id="15" name="Título 1">
            <a:extLst>
              <a:ext uri="{FF2B5EF4-FFF2-40B4-BE49-F238E27FC236}">
                <a16:creationId xmlns:a16="http://schemas.microsoft.com/office/drawing/2014/main" id="{97A8C769-A911-3F47-A504-FC380E6D618B}"/>
              </a:ext>
            </a:extLst>
          </p:cNvPr>
          <p:cNvSpPr txBox="1">
            <a:spLocks/>
          </p:cNvSpPr>
          <p:nvPr/>
        </p:nvSpPr>
        <p:spPr>
          <a:xfrm>
            <a:off x="1096906" y="1702174"/>
            <a:ext cx="10021135" cy="180061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kern="1200">
                <a:solidFill>
                  <a:srgbClr val="273787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Plan de Inversiones y Financiero 21-23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2400" b="1" i="0" u="none" strike="noStrike" kern="1200" cap="none" spc="0" normalizeH="0" baseline="0" noProof="0" dirty="0">
              <a:ln>
                <a:noFill/>
              </a:ln>
              <a:solidFill>
                <a:srgbClr val="273787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B8E4EDBC-EB62-4D81-8DE3-1AEB423421C3}"/>
              </a:ext>
            </a:extLst>
          </p:cNvPr>
          <p:cNvSpPr txBox="1"/>
          <p:nvPr/>
        </p:nvSpPr>
        <p:spPr>
          <a:xfrm>
            <a:off x="2806795" y="3973932"/>
            <a:ext cx="660135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es-ES" sz="2400" b="1" dirty="0">
                <a:solidFill>
                  <a:srgbClr val="273787"/>
                </a:solidFill>
                <a:latin typeface="+mj-lt"/>
                <a:ea typeface="+mj-ea"/>
                <a:cs typeface="+mj-cs"/>
              </a:rPr>
              <a:t>La base para alcanzar nuestra visión de largo plazo</a:t>
            </a:r>
          </a:p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2462313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arcador de número de diapositiva 10">
            <a:extLst>
              <a:ext uri="{FF2B5EF4-FFF2-40B4-BE49-F238E27FC236}">
                <a16:creationId xmlns:a16="http://schemas.microsoft.com/office/drawing/2014/main" id="{150D6912-BF31-47FC-BFA3-CCBA20562F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lumMod val="95000"/>
                    <a:lumOff val="5000"/>
                  </a:prstClr>
                </a:solidFill>
              </a:rPr>
              <a:pPr/>
              <a:t>3</a:t>
            </a:fld>
            <a:endParaRPr lang="es-CO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graphicFrame>
        <p:nvGraphicFramePr>
          <p:cNvPr id="6" name="Marcador de contenido 5">
            <a:extLst>
              <a:ext uri="{FF2B5EF4-FFF2-40B4-BE49-F238E27FC236}">
                <a16:creationId xmlns:a16="http://schemas.microsoft.com/office/drawing/2014/main" id="{095CA86A-D515-4314-9152-1075E2BCEFBC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515088784"/>
              </p:ext>
            </p:extLst>
          </p:nvPr>
        </p:nvGraphicFramePr>
        <p:xfrm>
          <a:off x="220654" y="839877"/>
          <a:ext cx="2120209" cy="5132748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120209">
                  <a:extLst>
                    <a:ext uri="{9D8B030D-6E8A-4147-A177-3AD203B41FA5}">
                      <a16:colId xmlns:a16="http://schemas.microsoft.com/office/drawing/2014/main" val="2494671148"/>
                    </a:ext>
                  </a:extLst>
                </a:gridCol>
              </a:tblGrid>
              <a:tr h="364649">
                <a:tc>
                  <a:txBody>
                    <a:bodyPr/>
                    <a:lstStyle/>
                    <a:p>
                      <a:r>
                        <a:rPr lang="es-ES" sz="1200" dirty="0"/>
                        <a:t>Temas a tratar</a:t>
                      </a:r>
                      <a:endParaRPr lang="es-CO" sz="1200" dirty="0"/>
                    </a:p>
                  </a:txBody>
                  <a:tcPr anchor="ctr">
                    <a:solidFill>
                      <a:srgbClr val="2B388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163245"/>
                  </a:ext>
                </a:extLst>
              </a:tr>
              <a:tr h="4768099">
                <a:tc>
                  <a:txBody>
                    <a:bodyPr/>
                    <a:lstStyle/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s-ES" sz="1050" dirty="0"/>
                        <a:t>Resumen Ejecutivo Inversiones</a:t>
                      </a:r>
                    </a:p>
                    <a:p>
                      <a:pPr marL="354013" lvl="1" indent="-171450">
                        <a:buFont typeface="Calibri" panose="020F0502020204030204" pitchFamily="34" charset="0"/>
                        <a:buChar char="-"/>
                      </a:pPr>
                      <a:r>
                        <a:rPr lang="es-ES" sz="1050" dirty="0"/>
                        <a:t>Financiero</a:t>
                      </a: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s-ES" sz="1050" dirty="0"/>
                        <a:t>Producción Bruta Plan de Inversión Desarrollo</a:t>
                      </a: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s-ES" sz="1050" dirty="0"/>
                        <a:t>Plan de Inversión Exploración  </a:t>
                      </a:r>
                    </a:p>
                    <a:p>
                      <a:pPr marL="179388" indent="-179388">
                        <a:buFont typeface="Arial" panose="020B0604020202020204" pitchFamily="34" charset="0"/>
                        <a:buChar char="•"/>
                      </a:pPr>
                      <a:r>
                        <a:rPr lang="es-ES" sz="1050" dirty="0"/>
                        <a:t>Resultados financieros </a:t>
                      </a:r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ES" sz="1400" dirty="0"/>
                    </a:p>
                    <a:p>
                      <a:pPr marL="342900" indent="-342900">
                        <a:buAutoNum type="arabicPeriod"/>
                      </a:pPr>
                      <a:endParaRPr lang="es-CO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9767206"/>
                  </a:ext>
                </a:extLst>
              </a:tr>
            </a:tbl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DD5BD7EF-85D9-4CE3-AF35-4C4C0D802AF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8358" y="469900"/>
            <a:ext cx="10972800" cy="561975"/>
          </a:xfrm>
        </p:spPr>
        <p:txBody>
          <a:bodyPr>
            <a:normAutofit fontScale="90000"/>
          </a:bodyPr>
          <a:lstStyle/>
          <a:p>
            <a:r>
              <a:rPr lang="es-ES" dirty="0"/>
              <a:t>Plan de Inversiones y Financiero 2021-2023</a:t>
            </a:r>
            <a:br>
              <a:rPr lang="es-ES" dirty="0"/>
            </a:br>
            <a:endParaRPr lang="es-CO" dirty="0"/>
          </a:p>
        </p:txBody>
      </p:sp>
      <p:graphicFrame>
        <p:nvGraphicFramePr>
          <p:cNvPr id="7" name="Marcador de contenido 5">
            <a:extLst>
              <a:ext uri="{FF2B5EF4-FFF2-40B4-BE49-F238E27FC236}">
                <a16:creationId xmlns:a16="http://schemas.microsoft.com/office/drawing/2014/main" id="{54C4E43B-B8E8-49DB-B7D8-DE6A64C1A8F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37003137"/>
              </p:ext>
            </p:extLst>
          </p:nvPr>
        </p:nvGraphicFramePr>
        <p:xfrm>
          <a:off x="2441448" y="840577"/>
          <a:ext cx="9529898" cy="503631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9529898">
                  <a:extLst>
                    <a:ext uri="{9D8B030D-6E8A-4147-A177-3AD203B41FA5}">
                      <a16:colId xmlns:a16="http://schemas.microsoft.com/office/drawing/2014/main" val="2494671148"/>
                    </a:ext>
                  </a:extLst>
                </a:gridCol>
              </a:tblGrid>
              <a:tr h="309288">
                <a:tc>
                  <a:txBody>
                    <a:bodyPr/>
                    <a:lstStyle/>
                    <a:p>
                      <a:r>
                        <a:rPr lang="es-ES" sz="1200" dirty="0"/>
                        <a:t>Mensajes Importantes</a:t>
                      </a:r>
                      <a:endParaRPr lang="es-CO" sz="1200" dirty="0"/>
                    </a:p>
                  </a:txBody>
                  <a:tcPr anchor="ctr">
                    <a:solidFill>
                      <a:srgbClr val="3DB0A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0163245"/>
                  </a:ext>
                </a:extLst>
              </a:tr>
              <a:tr h="4727031">
                <a:tc>
                  <a:txBody>
                    <a:bodyPr/>
                    <a:lstStyle/>
                    <a:p>
                      <a:pPr marL="84137" indent="0" algn="just">
                        <a:buFontTx/>
                        <a:buNone/>
                      </a:pPr>
                      <a:r>
                        <a:rPr lang="es-ES" sz="1150" dirty="0"/>
                        <a:t>El Plan 21-23 presenta un </a:t>
                      </a:r>
                      <a:r>
                        <a:rPr lang="es-ES" sz="1150" b="1" dirty="0"/>
                        <a:t>incremento en producción </a:t>
                      </a:r>
                      <a:r>
                        <a:rPr lang="es-ES" sz="1150" b="0" dirty="0"/>
                        <a:t>respecto al año 2020</a:t>
                      </a:r>
                      <a:r>
                        <a:rPr lang="es-ES" sz="1150" dirty="0"/>
                        <a:t>. En exploración los incrementos se deben principalmente a que se incluyen obligaciones contractuales con la ANH y las actividades relacionadas con la estrategia de gas sin riesgo. La información </a:t>
                      </a:r>
                      <a:r>
                        <a:rPr lang="es-ES" sz="1150" b="1" baseline="0" dirty="0"/>
                        <a:t>incluye Antares (LPT,STD,RH) los seis primeros meses del 2021, producción y Opex.</a:t>
                      </a:r>
                    </a:p>
                    <a:p>
                      <a:pPr marL="84137" indent="0" algn="just">
                        <a:buFontTx/>
                        <a:buNone/>
                      </a:pPr>
                      <a:r>
                        <a:rPr lang="es-ES" sz="1150" b="1" dirty="0"/>
                        <a:t>Producción</a:t>
                      </a:r>
                    </a:p>
                    <a:p>
                      <a:pPr marL="263525" indent="-179388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150" dirty="0"/>
                        <a:t>Se incluye la producción de Antares (LPT,STD,RH)  de enero a junio 2021. Se incluyen volúmenes de exploración Merecumbé (184 </a:t>
                      </a:r>
                      <a:r>
                        <a:rPr lang="es-ES" sz="1150" dirty="0" err="1"/>
                        <a:t>bls</a:t>
                      </a:r>
                      <a:r>
                        <a:rPr lang="es-ES" sz="1150" dirty="0"/>
                        <a:t>) ,</a:t>
                      </a:r>
                      <a:r>
                        <a:rPr lang="es-ES" sz="1150" baseline="0" dirty="0"/>
                        <a:t> </a:t>
                      </a:r>
                      <a:r>
                        <a:rPr lang="es-ES" sz="1150" dirty="0"/>
                        <a:t>Arrecife (481 </a:t>
                      </a:r>
                      <a:r>
                        <a:rPr lang="es-ES" sz="1150" dirty="0" err="1"/>
                        <a:t>bls</a:t>
                      </a:r>
                      <a:r>
                        <a:rPr lang="es-ES" sz="1150" dirty="0"/>
                        <a:t>) y Porquero (140 </a:t>
                      </a:r>
                      <a:r>
                        <a:rPr lang="es-ES" sz="1150" dirty="0" err="1"/>
                        <a:t>bls</a:t>
                      </a:r>
                      <a:r>
                        <a:rPr lang="es-ES" sz="1150" dirty="0"/>
                        <a:t>).</a:t>
                      </a:r>
                    </a:p>
                    <a:p>
                      <a:pPr marL="84137" indent="0" algn="just">
                        <a:buFontTx/>
                        <a:buNone/>
                      </a:pPr>
                      <a:r>
                        <a:rPr lang="es-ES" sz="1150" b="1" dirty="0"/>
                        <a:t>Inversiones Producción y Desarrollo</a:t>
                      </a:r>
                    </a:p>
                    <a:p>
                      <a:pPr marL="263525" indent="-179388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150" b="1" dirty="0"/>
                        <a:t>E&amp;P </a:t>
                      </a:r>
                      <a:r>
                        <a:rPr lang="es-ES" sz="1150" b="1" dirty="0" err="1"/>
                        <a:t>Guarrojo</a:t>
                      </a:r>
                      <a:r>
                        <a:rPr lang="es-ES" sz="1150" b="1" dirty="0"/>
                        <a:t> </a:t>
                      </a:r>
                      <a:r>
                        <a:rPr lang="es-ES" sz="1150" dirty="0"/>
                        <a:t>- </a:t>
                      </a:r>
                      <a:r>
                        <a:rPr lang="es-CO" sz="11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rende la perforación de 37 pozos (20 pozos en el 2021; 17 pozos en el 2022), así mismo incluye la ampliación de facilidades para manejo de agua a 280, 300 y 360k los cuales se ejecutarán gradualmente a medida que avance la campaña de perforación. Costo promedio por pozo 1,8 </a:t>
                      </a:r>
                      <a:r>
                        <a:rPr lang="es-CO" sz="115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d</a:t>
                      </a:r>
                      <a:r>
                        <a:rPr lang="es-CO" sz="11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263525" marR="0" lvl="0" indent="-179388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150" b="1" dirty="0"/>
                        <a:t>Espinal</a:t>
                      </a:r>
                      <a:r>
                        <a:rPr lang="es-ES" sz="1150" dirty="0"/>
                        <a:t> - Perforación de 10 pozos (5 pozos en el 2023 y 5 pozos en el 2024). Costo promedio por pozo 7,2 </a:t>
                      </a:r>
                      <a:r>
                        <a:rPr lang="es-ES" sz="1150" dirty="0" err="1"/>
                        <a:t>musd</a:t>
                      </a:r>
                      <a:endParaRPr lang="es-ES" sz="1150" dirty="0"/>
                    </a:p>
                    <a:p>
                      <a:pPr marL="263525" indent="-179388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150" b="1" dirty="0"/>
                        <a:t>VIM 8 Arrecife </a:t>
                      </a:r>
                      <a:r>
                        <a:rPr lang="es-ES" sz="1150" b="0" dirty="0"/>
                        <a:t>- Desarrollo temprano del campo consistente en ampliación de EPF, Línea de conexión a Jobo, línea de flujo a pozos </a:t>
                      </a:r>
                      <a:r>
                        <a:rPr lang="es-ES" sz="1150" b="0" dirty="0" err="1"/>
                        <a:t>appraisal</a:t>
                      </a:r>
                      <a:r>
                        <a:rPr lang="es-ES" sz="1150" b="0" dirty="0"/>
                        <a:t> y prueba extensa. (4 </a:t>
                      </a:r>
                      <a:r>
                        <a:rPr lang="es-ES" sz="1150" b="0" dirty="0" err="1"/>
                        <a:t>musd</a:t>
                      </a:r>
                      <a:r>
                        <a:rPr lang="es-ES" sz="1150" b="0" dirty="0"/>
                        <a:t> en 2021 y 15</a:t>
                      </a:r>
                      <a:r>
                        <a:rPr lang="es-ES" sz="1150" b="0" baseline="0" dirty="0"/>
                        <a:t> </a:t>
                      </a:r>
                      <a:r>
                        <a:rPr lang="es-ES" sz="1150" b="0" dirty="0" err="1"/>
                        <a:t>musd</a:t>
                      </a:r>
                      <a:r>
                        <a:rPr lang="es-ES" sz="1150" b="0" dirty="0"/>
                        <a:t> en 2022)</a:t>
                      </a:r>
                    </a:p>
                    <a:p>
                      <a:pPr marL="263525" marR="0" lvl="0" indent="-179388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150" b="1" dirty="0" err="1"/>
                        <a:t>Cicuco</a:t>
                      </a:r>
                      <a:r>
                        <a:rPr lang="es-ES" sz="1150" dirty="0"/>
                        <a:t> - </a:t>
                      </a:r>
                      <a:r>
                        <a:rPr lang="es-CO" sz="11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foración de 5 pozos en el año</a:t>
                      </a:r>
                      <a:r>
                        <a:rPr lang="es-CO" sz="1150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2023. </a:t>
                      </a:r>
                      <a:r>
                        <a:rPr lang="es-CO" sz="11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sto promedio por pozo 9,7 </a:t>
                      </a:r>
                      <a:r>
                        <a:rPr lang="es-CO" sz="115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d</a:t>
                      </a:r>
                      <a:r>
                        <a:rPr lang="es-CO" sz="11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incluye venta de gas y se estiman regalías del 8% de acuerdo a solicitud de PPI en ANH.</a:t>
                      </a:r>
                      <a:endParaRPr lang="es-ES" sz="1150" dirty="0"/>
                    </a:p>
                    <a:p>
                      <a:pPr marL="263525" marR="0" lvl="0" indent="-179388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s-ES" sz="1150" b="1" dirty="0"/>
                        <a:t>Samán  </a:t>
                      </a:r>
                      <a:r>
                        <a:rPr lang="es-ES" sz="1150" b="0" dirty="0"/>
                        <a:t>- </a:t>
                      </a:r>
                      <a:r>
                        <a:rPr lang="es-CO" sz="11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foración del pozo Mamey-3 en el 2021.Costo pozo 11 </a:t>
                      </a:r>
                      <a:r>
                        <a:rPr lang="es-CO" sz="115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d</a:t>
                      </a:r>
                      <a:endParaRPr lang="es-ES" sz="1150" b="1" dirty="0"/>
                    </a:p>
                    <a:p>
                      <a:pPr marL="263525" indent="-179388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150" b="1" dirty="0"/>
                        <a:t>La </a:t>
                      </a:r>
                      <a:r>
                        <a:rPr lang="es-ES" sz="1150" b="1" dirty="0" err="1"/>
                        <a:t>Hocha</a:t>
                      </a:r>
                      <a:r>
                        <a:rPr lang="es-ES" sz="1150" b="1" dirty="0"/>
                        <a:t> </a:t>
                      </a:r>
                      <a:r>
                        <a:rPr lang="es-ES" sz="1150" dirty="0"/>
                        <a:t>- </a:t>
                      </a:r>
                      <a:r>
                        <a:rPr lang="es-CO" sz="11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foración de 4 pozos en el 2023. Costo promedio por pozo 3,8 </a:t>
                      </a:r>
                      <a:r>
                        <a:rPr lang="es-CO" sz="115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d</a:t>
                      </a:r>
                      <a:r>
                        <a:rPr lang="es-ES" sz="1150" dirty="0"/>
                        <a:t>. </a:t>
                      </a:r>
                    </a:p>
                    <a:p>
                      <a:pPr marL="263525" indent="-179388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150" b="1" dirty="0"/>
                        <a:t>La Cañada Norte </a:t>
                      </a:r>
                      <a:r>
                        <a:rPr lang="es-ES" sz="1150" dirty="0"/>
                        <a:t>– </a:t>
                      </a:r>
                      <a:r>
                        <a:rPr lang="es-CO" sz="115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Perforación de 4 pozos en el 2023. Costo promedio por pozo 3 </a:t>
                      </a:r>
                      <a:r>
                        <a:rPr lang="es-CO" sz="115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usd</a:t>
                      </a:r>
                      <a:r>
                        <a:rPr lang="es-ES" sz="1150" dirty="0"/>
                        <a:t>.</a:t>
                      </a:r>
                    </a:p>
                    <a:p>
                      <a:pPr marL="84137" indent="0" algn="just">
                        <a:buFontTx/>
                        <a:buNone/>
                      </a:pPr>
                      <a:r>
                        <a:rPr lang="es-ES" sz="1150" b="1" dirty="0"/>
                        <a:t>Inversiones Exploración</a:t>
                      </a:r>
                    </a:p>
                    <a:p>
                      <a:pPr marL="263525" indent="-179388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150" dirty="0"/>
                        <a:t>Inversiones orientadas a asegurar la incorporación de producción dentro de la estrategia de gas y cumplimiento de obligaciones de inversiones en bloques existentes y bloques de la ronda 2019. </a:t>
                      </a:r>
                    </a:p>
                    <a:p>
                      <a:pPr marL="263525" indent="-179388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150" dirty="0"/>
                        <a:t>Acelerar los descubrimientos y el desarrollo de gas con la perforación de 16 pozos entre 2022 y 11 en 2023.</a:t>
                      </a:r>
                    </a:p>
                    <a:p>
                      <a:pPr marL="84137" indent="0" algn="just">
                        <a:buFontTx/>
                        <a:buNone/>
                      </a:pPr>
                      <a:r>
                        <a:rPr lang="es-ES" sz="1150" b="1" dirty="0">
                          <a:solidFill>
                            <a:schemeClr val="tx1"/>
                          </a:solidFill>
                        </a:rPr>
                        <a:t>Indicadores financieros</a:t>
                      </a:r>
                    </a:p>
                    <a:p>
                      <a:pPr marL="255587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150" b="0" dirty="0">
                          <a:solidFill>
                            <a:schemeClr val="tx1"/>
                          </a:solidFill>
                        </a:rPr>
                        <a:t>El ingreso por la venta de Antares se incluye en el año 2021</a:t>
                      </a:r>
                    </a:p>
                    <a:p>
                      <a:pPr marL="255587" indent="-171450" algn="just">
                        <a:buFont typeface="Arial" panose="020B0604020202020204" pitchFamily="34" charset="0"/>
                        <a:buChar char="•"/>
                      </a:pPr>
                      <a:r>
                        <a:rPr lang="es-ES" sz="1150" b="0" dirty="0">
                          <a:solidFill>
                            <a:schemeClr val="tx1"/>
                          </a:solidFill>
                        </a:rPr>
                        <a:t>Se asume 100% IRR en Reserva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89767206"/>
                  </a:ext>
                </a:extLst>
              </a:tr>
            </a:tbl>
          </a:graphicData>
        </a:graphic>
      </p:graphicFrame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1747284D-5DE7-4E15-B0F7-D0C5B9F595D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5618247"/>
              </p:ext>
            </p:extLst>
          </p:nvPr>
        </p:nvGraphicFramePr>
        <p:xfrm>
          <a:off x="220654" y="6041992"/>
          <a:ext cx="10596697" cy="52578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0596697">
                  <a:extLst>
                    <a:ext uri="{9D8B030D-6E8A-4147-A177-3AD203B41FA5}">
                      <a16:colId xmlns:a16="http://schemas.microsoft.com/office/drawing/2014/main" val="3365163634"/>
                    </a:ext>
                  </a:extLst>
                </a:gridCol>
              </a:tblGrid>
              <a:tr h="261678">
                <a:tc>
                  <a:txBody>
                    <a:bodyPr/>
                    <a:lstStyle/>
                    <a:p>
                      <a:r>
                        <a:rPr lang="es-ES" sz="1200" dirty="0"/>
                        <a:t>Resultado Esperado </a:t>
                      </a:r>
                      <a:endParaRPr lang="es-CO" sz="1200" dirty="0"/>
                    </a:p>
                  </a:txBody>
                  <a:tcPr>
                    <a:solidFill>
                      <a:srgbClr val="25A9E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2358983"/>
                  </a:ext>
                </a:extLst>
              </a:tr>
              <a:tr h="237955">
                <a:tc>
                  <a:txBody>
                    <a:bodyPr/>
                    <a:lstStyle/>
                    <a:p>
                      <a:r>
                        <a:rPr lang="es-ES" sz="1050" dirty="0"/>
                        <a:t>Presentar a la Junta Directiva el Plan de Inversiones y Financiero para los años 2021-2023 aprobado por Ecopetrol</a:t>
                      </a:r>
                      <a:endParaRPr lang="es-CO" sz="105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73611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5111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>
            <a:extLst>
              <a:ext uri="{FF2B5EF4-FFF2-40B4-BE49-F238E27FC236}">
                <a16:creationId xmlns:a16="http://schemas.microsoft.com/office/drawing/2014/main" id="{15CC4655-9044-432E-B55F-6A3F1A9D0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560" y="-82017"/>
            <a:ext cx="10515600" cy="1325563"/>
          </a:xfrm>
        </p:spPr>
        <p:txBody>
          <a:bodyPr>
            <a:normAutofit/>
          </a:bodyPr>
          <a:lstStyle/>
          <a:p>
            <a:r>
              <a:rPr lang="es-ES" dirty="0"/>
              <a:t>Resumen Plan de Inversiones 2021-2023</a:t>
            </a:r>
            <a:endParaRPr lang="es-CO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55E533E6-4FDE-4802-8923-880236A15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ABDF0F7-B273-694A-8310-7D2C231F9B4F}" type="slidenum">
              <a:rPr lang="es-CO" smtClean="0">
                <a:solidFill>
                  <a:prstClr val="black">
                    <a:lumMod val="95000"/>
                    <a:lumOff val="5000"/>
                  </a:prstClr>
                </a:solidFill>
              </a:rPr>
              <a:pPr>
                <a:defRPr/>
              </a:pPr>
              <a:t>4</a:t>
            </a:fld>
            <a:endParaRPr lang="es-CO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graphicFrame>
        <p:nvGraphicFramePr>
          <p:cNvPr id="9" name="Marcador de contenido 8">
            <a:extLst>
              <a:ext uri="{FF2B5EF4-FFF2-40B4-BE49-F238E27FC236}">
                <a16:creationId xmlns:a16="http://schemas.microsoft.com/office/drawing/2014/main" id="{71886FAC-A2F8-418C-8C7B-35D899B861F2}"/>
              </a:ext>
            </a:extLst>
          </p:cNvPr>
          <p:cNvGraphicFramePr>
            <a:graphicFrameLocks noGrp="1"/>
          </p:cNvGraphicFramePr>
          <p:nvPr>
            <p:ph sz="half" idx="4294967295"/>
          </p:nvPr>
        </p:nvGraphicFramePr>
        <p:xfrm>
          <a:off x="227607" y="957605"/>
          <a:ext cx="3862388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Marcador de contenido 8">
            <a:extLst>
              <a:ext uri="{FF2B5EF4-FFF2-40B4-BE49-F238E27FC236}">
                <a16:creationId xmlns:a16="http://schemas.microsoft.com/office/drawing/2014/main" id="{EFCB9B96-2979-4FBF-95D6-F055FD6204ED}"/>
              </a:ext>
            </a:extLst>
          </p:cNvPr>
          <p:cNvGraphicFramePr>
            <a:graphicFrameLocks/>
          </p:cNvGraphicFramePr>
          <p:nvPr/>
        </p:nvGraphicFramePr>
        <p:xfrm>
          <a:off x="4164410" y="957605"/>
          <a:ext cx="3863180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3" name="Marcador de contenido 8">
            <a:extLst>
              <a:ext uri="{FF2B5EF4-FFF2-40B4-BE49-F238E27FC236}">
                <a16:creationId xmlns:a16="http://schemas.microsoft.com/office/drawing/2014/main" id="{0C8C74D9-0A67-4E7F-AEF1-6CC6EF80D422}"/>
              </a:ext>
            </a:extLst>
          </p:cNvPr>
          <p:cNvGraphicFramePr>
            <a:graphicFrameLocks/>
          </p:cNvGraphicFramePr>
          <p:nvPr/>
        </p:nvGraphicFramePr>
        <p:xfrm>
          <a:off x="4164410" y="3801712"/>
          <a:ext cx="3863180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Marcador de contenido 8">
            <a:extLst>
              <a:ext uri="{FF2B5EF4-FFF2-40B4-BE49-F238E27FC236}">
                <a16:creationId xmlns:a16="http://schemas.microsoft.com/office/drawing/2014/main" id="{C7D8FB5C-147F-40FD-9999-397009A57AB9}"/>
              </a:ext>
            </a:extLst>
          </p:cNvPr>
          <p:cNvGraphicFramePr>
            <a:graphicFrameLocks/>
          </p:cNvGraphicFramePr>
          <p:nvPr/>
        </p:nvGraphicFramePr>
        <p:xfrm>
          <a:off x="8176420" y="3792313"/>
          <a:ext cx="3863180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2" name="Marcador de contenido 8">
            <a:extLst>
              <a:ext uri="{FF2B5EF4-FFF2-40B4-BE49-F238E27FC236}">
                <a16:creationId xmlns:a16="http://schemas.microsoft.com/office/drawing/2014/main" id="{CB910BED-CE4E-4A52-ABB8-9BF85E6F7B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887846"/>
              </p:ext>
            </p:extLst>
          </p:nvPr>
        </p:nvGraphicFramePr>
        <p:xfrm>
          <a:off x="226815" y="3801712"/>
          <a:ext cx="3863180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5" name="Marcador de contenido 8">
            <a:extLst>
              <a:ext uri="{FF2B5EF4-FFF2-40B4-BE49-F238E27FC236}">
                <a16:creationId xmlns:a16="http://schemas.microsoft.com/office/drawing/2014/main" id="{56AE874C-E007-49A4-BDAA-8D5E4521778F}"/>
              </a:ext>
            </a:extLst>
          </p:cNvPr>
          <p:cNvGraphicFramePr>
            <a:graphicFrameLocks/>
          </p:cNvGraphicFramePr>
          <p:nvPr/>
        </p:nvGraphicFramePr>
        <p:xfrm>
          <a:off x="8176420" y="957604"/>
          <a:ext cx="3863180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030895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5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6" name="Objeto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/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s-ES" sz="4400" dirty="0">
              <a:solidFill>
                <a:prstClr val="white"/>
              </a:solidFill>
              <a:latin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4" name="Título 3">
            <a:extLst>
              <a:ext uri="{FF2B5EF4-FFF2-40B4-BE49-F238E27FC236}">
                <a16:creationId xmlns:a16="http://schemas.microsoft.com/office/drawing/2014/main" id="{15CC4655-9044-432E-B55F-6A3F1A9D0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256" y="0"/>
            <a:ext cx="10515600" cy="957605"/>
          </a:xfrm>
        </p:spPr>
        <p:txBody>
          <a:bodyPr>
            <a:normAutofit/>
          </a:bodyPr>
          <a:lstStyle/>
          <a:p>
            <a:r>
              <a:rPr lang="es-ES" dirty="0"/>
              <a:t>Resumen Plan Financiero 2021-2023</a:t>
            </a:r>
            <a:endParaRPr lang="es-CO" dirty="0"/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0E3BFCCF-0E5C-4AAC-8F56-F575D212D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BDF0F7-B273-694A-8310-7D2C231F9B4F}" type="slidenum">
              <a:rPr lang="es-CO" smtClean="0">
                <a:solidFill>
                  <a:prstClr val="black">
                    <a:lumMod val="95000"/>
                    <a:lumOff val="5000"/>
                  </a:prstClr>
                </a:solidFill>
              </a:rPr>
              <a:pPr/>
              <a:t>5</a:t>
            </a:fld>
            <a:endParaRPr lang="es-CO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graphicFrame>
        <p:nvGraphicFramePr>
          <p:cNvPr id="9" name="Marcador de contenido 8">
            <a:extLst>
              <a:ext uri="{FF2B5EF4-FFF2-40B4-BE49-F238E27FC236}">
                <a16:creationId xmlns:a16="http://schemas.microsoft.com/office/drawing/2014/main" id="{71886FAC-A2F8-418C-8C7B-35D899B861F2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2180622033"/>
              </p:ext>
            </p:extLst>
          </p:nvPr>
        </p:nvGraphicFramePr>
        <p:xfrm>
          <a:off x="4164411" y="3822380"/>
          <a:ext cx="3863975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2" name="Marcador de contenido 8">
            <a:extLst>
              <a:ext uri="{FF2B5EF4-FFF2-40B4-BE49-F238E27FC236}">
                <a16:creationId xmlns:a16="http://schemas.microsoft.com/office/drawing/2014/main" id="{71886FAC-A2F8-418C-8C7B-35D899B861F2}"/>
              </a:ext>
            </a:extLst>
          </p:cNvPr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356261902"/>
              </p:ext>
            </p:extLst>
          </p:nvPr>
        </p:nvGraphicFramePr>
        <p:xfrm>
          <a:off x="8177213" y="3822380"/>
          <a:ext cx="3862387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10" name="Marcador de contenido 8">
            <a:extLst>
              <a:ext uri="{FF2B5EF4-FFF2-40B4-BE49-F238E27FC236}">
                <a16:creationId xmlns:a16="http://schemas.microsoft.com/office/drawing/2014/main" id="{EFCB9B96-2979-4FBF-95D6-F055FD6204E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61272836"/>
              </p:ext>
            </p:extLst>
          </p:nvPr>
        </p:nvGraphicFramePr>
        <p:xfrm>
          <a:off x="4164411" y="957605"/>
          <a:ext cx="3863180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1" name="Marcador de contenido 8">
            <a:extLst>
              <a:ext uri="{FF2B5EF4-FFF2-40B4-BE49-F238E27FC236}">
                <a16:creationId xmlns:a16="http://schemas.microsoft.com/office/drawing/2014/main" id="{E0FA91EC-B012-4053-9ADD-A8E1E04E09B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1593933"/>
              </p:ext>
            </p:extLst>
          </p:nvPr>
        </p:nvGraphicFramePr>
        <p:xfrm>
          <a:off x="8176421" y="957605"/>
          <a:ext cx="3863180" cy="27321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4" name="Marcador de contenido 8">
            <a:extLst>
              <a:ext uri="{FF2B5EF4-FFF2-40B4-BE49-F238E27FC236}">
                <a16:creationId xmlns:a16="http://schemas.microsoft.com/office/drawing/2014/main" id="{C7D8FB5C-147F-40FD-9999-397009A57A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1971471"/>
              </p:ext>
            </p:extLst>
          </p:nvPr>
        </p:nvGraphicFramePr>
        <p:xfrm>
          <a:off x="149170" y="957605"/>
          <a:ext cx="3863180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15" name="Marcador de contenido 8">
            <a:extLst>
              <a:ext uri="{FF2B5EF4-FFF2-40B4-BE49-F238E27FC236}">
                <a16:creationId xmlns:a16="http://schemas.microsoft.com/office/drawing/2014/main" id="{2F6959C0-BF3C-4457-87C7-64D0B1F9530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8256059"/>
              </p:ext>
            </p:extLst>
          </p:nvPr>
        </p:nvGraphicFramePr>
        <p:xfrm>
          <a:off x="149170" y="3822380"/>
          <a:ext cx="3863180" cy="274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" name="CuadroTexto 2"/>
          <p:cNvSpPr txBox="1"/>
          <p:nvPr/>
        </p:nvSpPr>
        <p:spPr>
          <a:xfrm>
            <a:off x="158751" y="6563760"/>
            <a:ext cx="3967567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467" dirty="0">
                <a:solidFill>
                  <a:prstClr val="white"/>
                </a:solidFill>
              </a:rPr>
              <a:t>Reales 2020 Normalizados</a:t>
            </a:r>
            <a:endParaRPr lang="es-CO" sz="1467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9775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>
            <a:extLst>
              <a:ext uri="{FF2B5EF4-FFF2-40B4-BE49-F238E27FC236}">
                <a16:creationId xmlns:a16="http://schemas.microsoft.com/office/drawing/2014/main" id="{C380D3A1-AB12-467D-BA2C-992C0C78CA91}"/>
              </a:ext>
            </a:extLst>
          </p:cNvPr>
          <p:cNvSpPr/>
          <p:nvPr/>
        </p:nvSpPr>
        <p:spPr>
          <a:xfrm>
            <a:off x="917575" y="3428999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es-ES" sz="2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de inversiones 2021-2023</a:t>
            </a:r>
          </a:p>
          <a:p>
            <a:pPr>
              <a:defRPr/>
            </a:pPr>
            <a:r>
              <a:rPr lang="es-ES" sz="2800" b="1" dirty="0">
                <a:solidFill>
                  <a:srgbClr val="E7E6E6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ción y Desarrollo 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515156C6-89DB-4798-B3EE-F48A0AE4A9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6</a:t>
            </a:fld>
            <a:endParaRPr lang="es-ES_tradn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8609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arcador de contenido 2">
            <a:extLst>
              <a:ext uri="{FF2B5EF4-FFF2-40B4-BE49-F238E27FC236}">
                <a16:creationId xmlns:a16="http://schemas.microsoft.com/office/drawing/2014/main" id="{C3E2F781-5FBD-4260-9DAC-AFFBE081821E}"/>
              </a:ext>
            </a:extLst>
          </p:cNvPr>
          <p:cNvSpPr txBox="1">
            <a:spLocks/>
          </p:cNvSpPr>
          <p:nvPr/>
        </p:nvSpPr>
        <p:spPr>
          <a:xfrm>
            <a:off x="0" y="-18754"/>
            <a:ext cx="10515600" cy="68268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ES" sz="32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ción Bruta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E145D614-8795-4359-8499-6290531249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27295" y="6492875"/>
            <a:ext cx="2743200" cy="365125"/>
          </a:xfrm>
        </p:spPr>
        <p:txBody>
          <a:bodyPr/>
          <a:lstStyle/>
          <a:p>
            <a:fld id="{B8E563C3-49C7-1546-AA99-CCD6C9883480}" type="slidenum">
              <a:rPr lang="es-ES_tradnl" smtClean="0">
                <a:solidFill>
                  <a:prstClr val="black"/>
                </a:solidFill>
              </a:rPr>
              <a:pPr/>
              <a:t>7</a:t>
            </a:fld>
            <a:endParaRPr lang="es-ES_tradnl" dirty="0">
              <a:solidFill>
                <a:prstClr val="black"/>
              </a:solidFill>
            </a:endParaRPr>
          </a:p>
        </p:txBody>
      </p:sp>
      <p:sp>
        <p:nvSpPr>
          <p:cNvPr id="13" name="CuadroTexto 12">
            <a:extLst>
              <a:ext uri="{FF2B5EF4-FFF2-40B4-BE49-F238E27FC236}">
                <a16:creationId xmlns:a16="http://schemas.microsoft.com/office/drawing/2014/main" id="{959E64F8-8B8B-4B6A-ABBB-80915577149A}"/>
              </a:ext>
            </a:extLst>
          </p:cNvPr>
          <p:cNvSpPr txBox="1"/>
          <p:nvPr/>
        </p:nvSpPr>
        <p:spPr>
          <a:xfrm>
            <a:off x="4112163" y="4412678"/>
            <a:ext cx="494386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" sz="1200" b="1" dirty="0">
                <a:solidFill>
                  <a:prstClr val="black"/>
                </a:solidFill>
              </a:rPr>
              <a:t>2021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prstClr val="black"/>
                </a:solidFill>
              </a:rPr>
              <a:t>Cambio de cronograma de perforación en la campaña de </a:t>
            </a:r>
            <a:r>
              <a:rPr lang="es-ES" sz="1200" dirty="0" err="1">
                <a:solidFill>
                  <a:prstClr val="black"/>
                </a:solidFill>
              </a:rPr>
              <a:t>Guarrojo</a:t>
            </a:r>
            <a:endParaRPr lang="es-ES" sz="1200" dirty="0">
              <a:solidFill>
                <a:prstClr val="black"/>
              </a:solidFill>
            </a:endParaRPr>
          </a:p>
          <a:p>
            <a:pPr algn="just"/>
            <a:endParaRPr lang="es-ES" sz="1200" dirty="0">
              <a:solidFill>
                <a:prstClr val="black"/>
              </a:solidFill>
            </a:endParaRPr>
          </a:p>
          <a:p>
            <a:pPr algn="just"/>
            <a:r>
              <a:rPr lang="es-ES" sz="1200" b="1" dirty="0">
                <a:solidFill>
                  <a:prstClr val="black"/>
                </a:solidFill>
              </a:rPr>
              <a:t>2022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prstClr val="black"/>
                </a:solidFill>
              </a:rPr>
              <a:t>Desplazamiento Campaña LCN de 2022 a 2023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prstClr val="black"/>
                </a:solidFill>
              </a:rPr>
              <a:t>Desplazamiento Campaña Toldado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prstClr val="black"/>
                </a:solidFill>
              </a:rPr>
              <a:t>Nuevo cronograma de perforación campaña </a:t>
            </a:r>
            <a:r>
              <a:rPr lang="es-ES" sz="1200" dirty="0" err="1">
                <a:solidFill>
                  <a:prstClr val="black"/>
                </a:solidFill>
              </a:rPr>
              <a:t>Guarrojo</a:t>
            </a:r>
            <a:endParaRPr lang="es-ES" sz="1200" dirty="0">
              <a:solidFill>
                <a:prstClr val="black"/>
              </a:solidFill>
            </a:endParaRPr>
          </a:p>
          <a:p>
            <a:pPr algn="just"/>
            <a:endParaRPr lang="es-ES" sz="1200" b="1" dirty="0">
              <a:solidFill>
                <a:prstClr val="black"/>
              </a:solidFill>
            </a:endParaRPr>
          </a:p>
          <a:p>
            <a:pPr algn="just"/>
            <a:r>
              <a:rPr lang="es-ES" sz="1200" b="1" dirty="0">
                <a:solidFill>
                  <a:prstClr val="black"/>
                </a:solidFill>
              </a:rPr>
              <a:t>2023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es-ES" sz="1200" dirty="0">
                <a:solidFill>
                  <a:prstClr val="black"/>
                </a:solidFill>
              </a:rPr>
              <a:t>Entrada campaña LCN y Toldado</a:t>
            </a:r>
          </a:p>
          <a:p>
            <a:pPr algn="just"/>
            <a:endParaRPr lang="es-CO" sz="1200" dirty="0">
              <a:solidFill>
                <a:prstClr val="black"/>
              </a:solidFill>
            </a:endParaRPr>
          </a:p>
        </p:txBody>
      </p:sp>
      <p:graphicFrame>
        <p:nvGraphicFramePr>
          <p:cNvPr id="15" name="Gráfico 14">
            <a:extLst>
              <a:ext uri="{FF2B5EF4-FFF2-40B4-BE49-F238E27FC236}">
                <a16:creationId xmlns:a16="http://schemas.microsoft.com/office/drawing/2014/main" id="{A19E630B-8215-4766-88BE-0CF49C0AFA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499412"/>
              </p:ext>
            </p:extLst>
          </p:nvPr>
        </p:nvGraphicFramePr>
        <p:xfrm>
          <a:off x="6310648" y="663930"/>
          <a:ext cx="5791079" cy="3586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Gráfico 11">
            <a:extLst>
              <a:ext uri="{FF2B5EF4-FFF2-40B4-BE49-F238E27FC236}">
                <a16:creationId xmlns:a16="http://schemas.microsoft.com/office/drawing/2014/main" id="{A19E630B-8215-4766-88BE-0CF49C0AFA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65545824"/>
              </p:ext>
            </p:extLst>
          </p:nvPr>
        </p:nvGraphicFramePr>
        <p:xfrm>
          <a:off x="108136" y="687681"/>
          <a:ext cx="5635841" cy="3562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591090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1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1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O" sz="1200" b="1" dirty="0">
              <a:solidFill>
                <a:prstClr val="white"/>
              </a:solidFill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7" name="Rectángulo 16"/>
          <p:cNvSpPr/>
          <p:nvPr/>
        </p:nvSpPr>
        <p:spPr>
          <a:xfrm>
            <a:off x="-50474" y="51202"/>
            <a:ext cx="9924015" cy="4801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s-CO" sz="28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de inversiones producción MMUSD</a:t>
            </a:r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97A8E734-1B76-423C-9D9B-FB7423C703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955756" y="6583363"/>
            <a:ext cx="576064" cy="274637"/>
          </a:xfrm>
        </p:spPr>
        <p:txBody>
          <a:bodyPr/>
          <a:lstStyle/>
          <a:p>
            <a:fld id="{FF260689-DB54-4EEE-A46D-4DE975CA1A91}" type="slidenum">
              <a:rPr lang="es-CO" smtClean="0">
                <a:solidFill>
                  <a:prstClr val="black"/>
                </a:solidFill>
              </a:rPr>
              <a:pPr/>
              <a:t>8</a:t>
            </a:fld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7B20D54-0F38-403C-B1DB-6E3CC5525E87}"/>
              </a:ext>
            </a:extLst>
          </p:cNvPr>
          <p:cNvSpPr txBox="1"/>
          <p:nvPr/>
        </p:nvSpPr>
        <p:spPr>
          <a:xfrm>
            <a:off x="1713840" y="4418368"/>
            <a:ext cx="19806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b="1" dirty="0">
                <a:solidFill>
                  <a:srgbClr val="2B388F"/>
                </a:solidFill>
              </a:rPr>
              <a:t>Campaña de perforación </a:t>
            </a:r>
            <a:r>
              <a:rPr lang="es-ES" sz="1400" b="1" dirty="0" err="1">
                <a:solidFill>
                  <a:srgbClr val="2B388F"/>
                </a:solidFill>
              </a:rPr>
              <a:t>Guarrojo</a:t>
            </a:r>
            <a:r>
              <a:rPr lang="es-ES" sz="1400" b="1" dirty="0">
                <a:solidFill>
                  <a:srgbClr val="2B388F"/>
                </a:solidFill>
              </a:rPr>
              <a:t> </a:t>
            </a:r>
            <a:endParaRPr lang="es-CO" sz="1400" b="1" dirty="0">
              <a:solidFill>
                <a:srgbClr val="2B388F"/>
              </a:solidFill>
            </a:endParaRPr>
          </a:p>
        </p:txBody>
      </p:sp>
      <p:sp>
        <p:nvSpPr>
          <p:cNvPr id="26" name="CuadroTexto 25">
            <a:extLst>
              <a:ext uri="{FF2B5EF4-FFF2-40B4-BE49-F238E27FC236}">
                <a16:creationId xmlns:a16="http://schemas.microsoft.com/office/drawing/2014/main" id="{2F3BD219-24B4-4E21-A377-1B7960C80D1E}"/>
              </a:ext>
            </a:extLst>
          </p:cNvPr>
          <p:cNvSpPr txBox="1"/>
          <p:nvPr/>
        </p:nvSpPr>
        <p:spPr>
          <a:xfrm>
            <a:off x="1713841" y="5686597"/>
            <a:ext cx="19806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b="1" dirty="0">
                <a:solidFill>
                  <a:srgbClr val="2B388F"/>
                </a:solidFill>
              </a:rPr>
              <a:t>Campaña de perforación Espinal</a:t>
            </a:r>
            <a:endParaRPr lang="es-CO" sz="1400" b="1" dirty="0">
              <a:solidFill>
                <a:srgbClr val="2B388F"/>
              </a:solidFill>
            </a:endParaRP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8542AA9C-E652-4DC0-B712-FD6CD9340E8B}"/>
              </a:ext>
            </a:extLst>
          </p:cNvPr>
          <p:cNvSpPr txBox="1"/>
          <p:nvPr/>
        </p:nvSpPr>
        <p:spPr>
          <a:xfrm>
            <a:off x="4627191" y="5657423"/>
            <a:ext cx="19806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b="1" dirty="0">
                <a:solidFill>
                  <a:srgbClr val="2B388F"/>
                </a:solidFill>
              </a:rPr>
              <a:t>Desarrollo temprano </a:t>
            </a:r>
          </a:p>
          <a:p>
            <a:pPr algn="ctr"/>
            <a:r>
              <a:rPr lang="es-ES" sz="1400" b="1" dirty="0">
                <a:solidFill>
                  <a:srgbClr val="2B388F"/>
                </a:solidFill>
              </a:rPr>
              <a:t>Arrecife</a:t>
            </a:r>
            <a:endParaRPr lang="es-CO" sz="1400" b="1" dirty="0">
              <a:solidFill>
                <a:srgbClr val="2B388F"/>
              </a:solidFill>
            </a:endParaRP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5EBA6755-49A7-4679-89FF-19329B2F2FD8}"/>
              </a:ext>
            </a:extLst>
          </p:cNvPr>
          <p:cNvSpPr txBox="1"/>
          <p:nvPr/>
        </p:nvSpPr>
        <p:spPr>
          <a:xfrm>
            <a:off x="9964253" y="4978064"/>
            <a:ext cx="20086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b="1" dirty="0">
                <a:solidFill>
                  <a:srgbClr val="2B388F"/>
                </a:solidFill>
              </a:rPr>
              <a:t>Campaña de perforación</a:t>
            </a:r>
          </a:p>
          <a:p>
            <a:pPr algn="ctr"/>
            <a:r>
              <a:rPr lang="es-ES" sz="1400" b="1" dirty="0">
                <a:solidFill>
                  <a:srgbClr val="2B388F"/>
                </a:solidFill>
              </a:rPr>
              <a:t> LCN</a:t>
            </a:r>
            <a:endParaRPr lang="es-CO" sz="1400" b="1" dirty="0">
              <a:solidFill>
                <a:srgbClr val="2B388F"/>
              </a:solidFill>
            </a:endParaRPr>
          </a:p>
        </p:txBody>
      </p:sp>
      <p:sp>
        <p:nvSpPr>
          <p:cNvPr id="29" name="CuadroTexto 28">
            <a:extLst>
              <a:ext uri="{FF2B5EF4-FFF2-40B4-BE49-F238E27FC236}">
                <a16:creationId xmlns:a16="http://schemas.microsoft.com/office/drawing/2014/main" id="{B11DFAA9-FCBC-412F-B6A3-079269F90FEF}"/>
              </a:ext>
            </a:extLst>
          </p:cNvPr>
          <p:cNvSpPr txBox="1"/>
          <p:nvPr/>
        </p:nvSpPr>
        <p:spPr>
          <a:xfrm>
            <a:off x="7357516" y="4352108"/>
            <a:ext cx="200862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400" b="1" dirty="0">
                <a:solidFill>
                  <a:srgbClr val="2B388F"/>
                </a:solidFill>
              </a:rPr>
              <a:t>Campaña de perforación</a:t>
            </a:r>
          </a:p>
          <a:p>
            <a:pPr algn="ctr"/>
            <a:r>
              <a:rPr lang="es-ES" sz="1400" b="1" dirty="0">
                <a:solidFill>
                  <a:srgbClr val="2B388F"/>
                </a:solidFill>
              </a:rPr>
              <a:t> LH</a:t>
            </a:r>
            <a:endParaRPr lang="es-CO" sz="1400" b="1" dirty="0">
              <a:solidFill>
                <a:srgbClr val="2B388F"/>
              </a:solidFill>
            </a:endParaRPr>
          </a:p>
        </p:txBody>
      </p:sp>
      <p:sp>
        <p:nvSpPr>
          <p:cNvPr id="30" name="CuadroTexto 29">
            <a:extLst>
              <a:ext uri="{FF2B5EF4-FFF2-40B4-BE49-F238E27FC236}">
                <a16:creationId xmlns:a16="http://schemas.microsoft.com/office/drawing/2014/main" id="{13B6719C-CF40-403C-AC66-E5555DA7F2DC}"/>
              </a:ext>
            </a:extLst>
          </p:cNvPr>
          <p:cNvSpPr txBox="1"/>
          <p:nvPr/>
        </p:nvSpPr>
        <p:spPr>
          <a:xfrm>
            <a:off x="4577061" y="4352108"/>
            <a:ext cx="20086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ES" sz="1400" b="1" dirty="0">
                <a:solidFill>
                  <a:srgbClr val="2B388F"/>
                </a:solidFill>
              </a:rPr>
              <a:t>Campaña de perforación</a:t>
            </a:r>
          </a:p>
          <a:p>
            <a:pPr algn="ctr"/>
            <a:r>
              <a:rPr lang="es-ES" sz="1400" b="1" dirty="0">
                <a:solidFill>
                  <a:srgbClr val="2B388F"/>
                </a:solidFill>
              </a:rPr>
              <a:t> </a:t>
            </a:r>
            <a:r>
              <a:rPr lang="es-ES" sz="1400" b="1" dirty="0" err="1">
                <a:solidFill>
                  <a:srgbClr val="2B388F"/>
                </a:solidFill>
              </a:rPr>
              <a:t>Cicuco</a:t>
            </a:r>
            <a:endParaRPr lang="es-CO" sz="1400" b="1" dirty="0">
              <a:solidFill>
                <a:srgbClr val="2B388F"/>
              </a:solidFill>
            </a:endParaRPr>
          </a:p>
        </p:txBody>
      </p:sp>
      <p:sp>
        <p:nvSpPr>
          <p:cNvPr id="6" name="CuadroTexto 5">
            <a:extLst>
              <a:ext uri="{FF2B5EF4-FFF2-40B4-BE49-F238E27FC236}">
                <a16:creationId xmlns:a16="http://schemas.microsoft.com/office/drawing/2014/main" id="{FFB6AE14-9F57-4F5F-B2BA-BBE0E1216383}"/>
              </a:ext>
            </a:extLst>
          </p:cNvPr>
          <p:cNvSpPr txBox="1"/>
          <p:nvPr/>
        </p:nvSpPr>
        <p:spPr>
          <a:xfrm>
            <a:off x="-40295" y="4894563"/>
            <a:ext cx="137857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dirty="0">
                <a:solidFill>
                  <a:prstClr val="black"/>
                </a:solidFill>
              </a:rPr>
              <a:t>Los siguientes proyectos explican el 80% del plan </a:t>
            </a:r>
            <a:endParaRPr lang="es-CO" sz="1400" dirty="0">
              <a:solidFill>
                <a:prstClr val="black"/>
              </a:solidFill>
            </a:endParaRPr>
          </a:p>
        </p:txBody>
      </p:sp>
      <p:sp>
        <p:nvSpPr>
          <p:cNvPr id="7" name="Abrir llave 6">
            <a:extLst>
              <a:ext uri="{FF2B5EF4-FFF2-40B4-BE49-F238E27FC236}">
                <a16:creationId xmlns:a16="http://schemas.microsoft.com/office/drawing/2014/main" id="{4378E213-CCA0-4C36-88F5-D176AFA976E7}"/>
              </a:ext>
            </a:extLst>
          </p:cNvPr>
          <p:cNvSpPr/>
          <p:nvPr/>
        </p:nvSpPr>
        <p:spPr>
          <a:xfrm>
            <a:off x="1350994" y="4418367"/>
            <a:ext cx="197863" cy="2280221"/>
          </a:xfrm>
          <a:prstGeom prst="leftBrace">
            <a:avLst>
              <a:gd name="adj1" fmla="val 0"/>
              <a:gd name="adj2" fmla="val 50000"/>
            </a:avLst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black"/>
              </a:solidFill>
            </a:endParaRPr>
          </a:p>
        </p:txBody>
      </p:sp>
      <p:sp>
        <p:nvSpPr>
          <p:cNvPr id="9" name="CuadroTexto 8">
            <a:extLst>
              <a:ext uri="{FF2B5EF4-FFF2-40B4-BE49-F238E27FC236}">
                <a16:creationId xmlns:a16="http://schemas.microsoft.com/office/drawing/2014/main" id="{9F5A4111-D9CE-455D-8645-F103FB594661}"/>
              </a:ext>
            </a:extLst>
          </p:cNvPr>
          <p:cNvSpPr txBox="1"/>
          <p:nvPr/>
        </p:nvSpPr>
        <p:spPr>
          <a:xfrm>
            <a:off x="1548857" y="5047414"/>
            <a:ext cx="841897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81 MMUSD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39" name="CuadroTexto 38">
            <a:extLst>
              <a:ext uri="{FF2B5EF4-FFF2-40B4-BE49-F238E27FC236}">
                <a16:creationId xmlns:a16="http://schemas.microsoft.com/office/drawing/2014/main" id="{153B851B-8BD7-4579-A728-1EB333E75413}"/>
              </a:ext>
            </a:extLst>
          </p:cNvPr>
          <p:cNvSpPr txBox="1"/>
          <p:nvPr/>
        </p:nvSpPr>
        <p:spPr>
          <a:xfrm>
            <a:off x="1535953" y="6229791"/>
            <a:ext cx="841897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69 MMUSD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40" name="CuadroTexto 39">
            <a:extLst>
              <a:ext uri="{FF2B5EF4-FFF2-40B4-BE49-F238E27FC236}">
                <a16:creationId xmlns:a16="http://schemas.microsoft.com/office/drawing/2014/main" id="{49138D00-56B9-44AC-A909-4AD22DB17917}"/>
              </a:ext>
            </a:extLst>
          </p:cNvPr>
          <p:cNvSpPr txBox="1"/>
          <p:nvPr/>
        </p:nvSpPr>
        <p:spPr>
          <a:xfrm>
            <a:off x="4630239" y="4991581"/>
            <a:ext cx="841897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44 MMUSD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41" name="CuadroTexto 40">
            <a:extLst>
              <a:ext uri="{FF2B5EF4-FFF2-40B4-BE49-F238E27FC236}">
                <a16:creationId xmlns:a16="http://schemas.microsoft.com/office/drawing/2014/main" id="{F4E017F3-62CE-4A01-B866-6A2207AE0256}"/>
              </a:ext>
            </a:extLst>
          </p:cNvPr>
          <p:cNvSpPr txBox="1"/>
          <p:nvPr/>
        </p:nvSpPr>
        <p:spPr>
          <a:xfrm>
            <a:off x="5203948" y="6210482"/>
            <a:ext cx="841897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19 MMUSD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42" name="CuadroTexto 41">
            <a:extLst>
              <a:ext uri="{FF2B5EF4-FFF2-40B4-BE49-F238E27FC236}">
                <a16:creationId xmlns:a16="http://schemas.microsoft.com/office/drawing/2014/main" id="{62782BB2-666F-499C-88E2-6DCDB7B995CE}"/>
              </a:ext>
            </a:extLst>
          </p:cNvPr>
          <p:cNvSpPr txBox="1"/>
          <p:nvPr/>
        </p:nvSpPr>
        <p:spPr>
          <a:xfrm>
            <a:off x="7357516" y="4981154"/>
            <a:ext cx="841897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14 MMUSD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A4DF4397-C42F-4477-9B0E-42D0C287C6A4}"/>
              </a:ext>
            </a:extLst>
          </p:cNvPr>
          <p:cNvSpPr txBox="1"/>
          <p:nvPr/>
        </p:nvSpPr>
        <p:spPr>
          <a:xfrm>
            <a:off x="9934349" y="5560597"/>
            <a:ext cx="841897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11 MMUSD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4DADE0B2-9044-4B83-BE57-AA481A5DD9D7}"/>
              </a:ext>
            </a:extLst>
          </p:cNvPr>
          <p:cNvSpPr txBox="1"/>
          <p:nvPr/>
        </p:nvSpPr>
        <p:spPr>
          <a:xfrm>
            <a:off x="7186763" y="5620337"/>
            <a:ext cx="23221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400" b="1" dirty="0">
                <a:solidFill>
                  <a:srgbClr val="2B388F"/>
                </a:solidFill>
              </a:rPr>
              <a:t>Perforación Mamey</a:t>
            </a:r>
            <a:endParaRPr lang="es-CO" sz="1400" b="1" dirty="0">
              <a:solidFill>
                <a:srgbClr val="2B388F"/>
              </a:solidFill>
            </a:endParaRPr>
          </a:p>
        </p:txBody>
      </p:sp>
      <p:sp>
        <p:nvSpPr>
          <p:cNvPr id="45" name="CuadroTexto 44">
            <a:extLst>
              <a:ext uri="{FF2B5EF4-FFF2-40B4-BE49-F238E27FC236}">
                <a16:creationId xmlns:a16="http://schemas.microsoft.com/office/drawing/2014/main" id="{5C419F53-1481-4FA4-AEC1-7DE21D56CA5C}"/>
              </a:ext>
            </a:extLst>
          </p:cNvPr>
          <p:cNvSpPr txBox="1"/>
          <p:nvPr/>
        </p:nvSpPr>
        <p:spPr>
          <a:xfrm>
            <a:off x="7370768" y="6162493"/>
            <a:ext cx="841897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11 MMUSD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2" name="CuadroTexto 1">
            <a:extLst>
              <a:ext uri="{FF2B5EF4-FFF2-40B4-BE49-F238E27FC236}">
                <a16:creationId xmlns:a16="http://schemas.microsoft.com/office/drawing/2014/main" id="{88B6DC02-4E33-47D9-B5D1-07728E8487B5}"/>
              </a:ext>
            </a:extLst>
          </p:cNvPr>
          <p:cNvSpPr txBox="1"/>
          <p:nvPr/>
        </p:nvSpPr>
        <p:spPr>
          <a:xfrm>
            <a:off x="6499909" y="479678"/>
            <a:ext cx="169950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1050" dirty="0">
                <a:solidFill>
                  <a:prstClr val="black"/>
                </a:solidFill>
              </a:rPr>
              <a:t>* Incluye </a:t>
            </a:r>
            <a:r>
              <a:rPr lang="es-ES" sz="1050" dirty="0" err="1">
                <a:solidFill>
                  <a:prstClr val="black"/>
                </a:solidFill>
              </a:rPr>
              <a:t>Capex</a:t>
            </a:r>
            <a:r>
              <a:rPr lang="es-ES" sz="1050" dirty="0">
                <a:solidFill>
                  <a:prstClr val="black"/>
                </a:solidFill>
              </a:rPr>
              <a:t> corporativo</a:t>
            </a:r>
            <a:endParaRPr lang="es-CO" sz="1050" dirty="0">
              <a:solidFill>
                <a:prstClr val="black"/>
              </a:solidFill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A48391C6-BFBA-4729-BDAA-B332B630F24B}"/>
              </a:ext>
            </a:extLst>
          </p:cNvPr>
          <p:cNvSpPr txBox="1"/>
          <p:nvPr/>
        </p:nvSpPr>
        <p:spPr>
          <a:xfrm>
            <a:off x="2452771" y="5047414"/>
            <a:ext cx="1490341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squar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3603 </a:t>
            </a:r>
            <a:r>
              <a:rPr lang="es-ES" sz="1100" dirty="0" err="1">
                <a:solidFill>
                  <a:prstClr val="black"/>
                </a:solidFill>
              </a:rPr>
              <a:t>Boepd</a:t>
            </a:r>
            <a:r>
              <a:rPr lang="es-ES" sz="1100" dirty="0">
                <a:solidFill>
                  <a:prstClr val="black"/>
                </a:solidFill>
              </a:rPr>
              <a:t> en 2022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31" name="CuadroTexto 30">
            <a:extLst>
              <a:ext uri="{FF2B5EF4-FFF2-40B4-BE49-F238E27FC236}">
                <a16:creationId xmlns:a16="http://schemas.microsoft.com/office/drawing/2014/main" id="{C320D702-A0B8-4FE9-853C-F3CFB63E2FEB}"/>
              </a:ext>
            </a:extLst>
          </p:cNvPr>
          <p:cNvSpPr txBox="1"/>
          <p:nvPr/>
        </p:nvSpPr>
        <p:spPr>
          <a:xfrm>
            <a:off x="5550599" y="4991291"/>
            <a:ext cx="1370888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1273 </a:t>
            </a:r>
            <a:r>
              <a:rPr lang="es-ES" sz="1100" dirty="0" err="1">
                <a:solidFill>
                  <a:prstClr val="black"/>
                </a:solidFill>
              </a:rPr>
              <a:t>Boepd</a:t>
            </a:r>
            <a:r>
              <a:rPr lang="es-ES" sz="1100" dirty="0">
                <a:solidFill>
                  <a:prstClr val="black"/>
                </a:solidFill>
              </a:rPr>
              <a:t> en 2024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32" name="CuadroTexto 31">
            <a:extLst>
              <a:ext uri="{FF2B5EF4-FFF2-40B4-BE49-F238E27FC236}">
                <a16:creationId xmlns:a16="http://schemas.microsoft.com/office/drawing/2014/main" id="{4A286F04-25D0-4F09-89F4-88711C876112}"/>
              </a:ext>
            </a:extLst>
          </p:cNvPr>
          <p:cNvSpPr txBox="1"/>
          <p:nvPr/>
        </p:nvSpPr>
        <p:spPr>
          <a:xfrm>
            <a:off x="2452772" y="6229791"/>
            <a:ext cx="1490340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squar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2149 </a:t>
            </a:r>
            <a:r>
              <a:rPr lang="es-ES" sz="1100" dirty="0" err="1">
                <a:solidFill>
                  <a:prstClr val="black"/>
                </a:solidFill>
              </a:rPr>
              <a:t>Boepd</a:t>
            </a:r>
            <a:r>
              <a:rPr lang="es-ES" sz="1100" dirty="0">
                <a:solidFill>
                  <a:prstClr val="black"/>
                </a:solidFill>
              </a:rPr>
              <a:t> en 2024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467B9246-5D96-43B9-B574-2E10B926BF38}"/>
              </a:ext>
            </a:extLst>
          </p:cNvPr>
          <p:cNvSpPr txBox="1"/>
          <p:nvPr/>
        </p:nvSpPr>
        <p:spPr>
          <a:xfrm>
            <a:off x="10878230" y="5563790"/>
            <a:ext cx="1298753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444 </a:t>
            </a:r>
            <a:r>
              <a:rPr lang="es-ES" sz="1100" dirty="0" err="1">
                <a:solidFill>
                  <a:prstClr val="black"/>
                </a:solidFill>
              </a:rPr>
              <a:t>Boepd</a:t>
            </a:r>
            <a:r>
              <a:rPr lang="es-ES" sz="1100" dirty="0">
                <a:solidFill>
                  <a:prstClr val="black"/>
                </a:solidFill>
              </a:rPr>
              <a:t> en 2024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34" name="CuadroTexto 33">
            <a:extLst>
              <a:ext uri="{FF2B5EF4-FFF2-40B4-BE49-F238E27FC236}">
                <a16:creationId xmlns:a16="http://schemas.microsoft.com/office/drawing/2014/main" id="{98D08EDD-31C9-42F8-A107-864DB489EEC3}"/>
              </a:ext>
            </a:extLst>
          </p:cNvPr>
          <p:cNvSpPr txBox="1"/>
          <p:nvPr/>
        </p:nvSpPr>
        <p:spPr>
          <a:xfrm>
            <a:off x="8253991" y="4981154"/>
            <a:ext cx="1298753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486 </a:t>
            </a:r>
            <a:r>
              <a:rPr lang="es-ES" sz="1100" dirty="0" err="1">
                <a:solidFill>
                  <a:prstClr val="black"/>
                </a:solidFill>
              </a:rPr>
              <a:t>Boepd</a:t>
            </a:r>
            <a:r>
              <a:rPr lang="es-ES" sz="1100" dirty="0">
                <a:solidFill>
                  <a:prstClr val="black"/>
                </a:solidFill>
              </a:rPr>
              <a:t> en 2024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F58D803E-325C-4926-A3E7-ADE8027A2BAB}"/>
              </a:ext>
            </a:extLst>
          </p:cNvPr>
          <p:cNvSpPr txBox="1"/>
          <p:nvPr/>
        </p:nvSpPr>
        <p:spPr>
          <a:xfrm>
            <a:off x="8267243" y="6148338"/>
            <a:ext cx="1370888" cy="261610"/>
          </a:xfrm>
          <a:prstGeom prst="rect">
            <a:avLst/>
          </a:prstGeom>
          <a:noFill/>
          <a:ln>
            <a:solidFill>
              <a:srgbClr val="2B388F"/>
            </a:solidFill>
          </a:ln>
        </p:spPr>
        <p:txBody>
          <a:bodyPr wrap="non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1200 </a:t>
            </a:r>
            <a:r>
              <a:rPr lang="es-ES" sz="1100" dirty="0" err="1">
                <a:solidFill>
                  <a:prstClr val="black"/>
                </a:solidFill>
              </a:rPr>
              <a:t>Boepd</a:t>
            </a:r>
            <a:r>
              <a:rPr lang="es-ES" sz="1100" dirty="0">
                <a:solidFill>
                  <a:prstClr val="black"/>
                </a:solidFill>
              </a:rPr>
              <a:t> en 2022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8710383" y="1094831"/>
            <a:ext cx="3329194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/>
              <a:t>Principales cambios JD Octubre</a:t>
            </a:r>
          </a:p>
          <a:p>
            <a:endParaRPr lang="es-CO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/>
              <a:t>Desplazamiento 4 pozos </a:t>
            </a:r>
            <a:r>
              <a:rPr lang="es-CO" sz="1200" dirty="0" err="1"/>
              <a:t>Guarrojo</a:t>
            </a:r>
            <a:r>
              <a:rPr lang="es-CO" sz="1200" dirty="0"/>
              <a:t> del 21 al 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/>
              <a:t>Desplazamiento Campaña LCN del 22 al 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/>
              <a:t>Desplazamiento EOR Toldado del 21 al 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/>
              <a:t>Desplazamiento WO Chenche del 21 al 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1200" dirty="0"/>
              <a:t>Desplazamiento </a:t>
            </a:r>
            <a:r>
              <a:rPr lang="es-CO" sz="1200" dirty="0" err="1"/>
              <a:t>Icos</a:t>
            </a:r>
            <a:r>
              <a:rPr lang="es-CO" sz="1200" dirty="0"/>
              <a:t> y estudios del 21 al 2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CO" sz="1400" dirty="0"/>
          </a:p>
        </p:txBody>
      </p:sp>
      <p:graphicFrame>
        <p:nvGraphicFramePr>
          <p:cNvPr id="36" name="Chart 19">
            <a:extLst>
              <a:ext uri="{FF2B5EF4-FFF2-40B4-BE49-F238E27FC236}">
                <a16:creationId xmlns:a16="http://schemas.microsoft.com/office/drawing/2014/main" id="{C65DABD9-533C-433B-AFDF-038B67009E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4690799"/>
              </p:ext>
            </p:extLst>
          </p:nvPr>
        </p:nvGraphicFramePr>
        <p:xfrm>
          <a:off x="-68134" y="733594"/>
          <a:ext cx="8748495" cy="33281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8" name="Rectángulo 37"/>
          <p:cNvSpPr/>
          <p:nvPr/>
        </p:nvSpPr>
        <p:spPr>
          <a:xfrm>
            <a:off x="3803653" y="829987"/>
            <a:ext cx="1247534" cy="2291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s-CO" sz="1200" b="1" dirty="0">
                <a:solidFill>
                  <a:sysClr val="windowText" lastClr="000000"/>
                </a:solidFill>
              </a:rPr>
              <a:t>102,9</a:t>
            </a:r>
          </a:p>
        </p:txBody>
      </p:sp>
    </p:spTree>
    <p:extLst>
      <p:ext uri="{BB962C8B-B14F-4D97-AF65-F5344CB8AC3E}">
        <p14:creationId xmlns:p14="http://schemas.microsoft.com/office/powerpoint/2010/main" val="11721349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5955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2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ángulo 14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s-CO" sz="1200" b="1" dirty="0">
              <a:solidFill>
                <a:prstClr val="white"/>
              </a:solidFill>
              <a:latin typeface="Calibri Light" panose="020F0302020204030204" pitchFamily="34" charset="0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graphicFrame>
        <p:nvGraphicFramePr>
          <p:cNvPr id="31" name="Gráfico 30">
            <a:extLst>
              <a:ext uri="{FF2B5EF4-FFF2-40B4-BE49-F238E27FC236}">
                <a16:creationId xmlns:a16="http://schemas.microsoft.com/office/drawing/2014/main" id="{78A7D9BC-F0B8-4E31-98EB-A6D1CD49F2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9495938"/>
              </p:ext>
            </p:extLst>
          </p:nvPr>
        </p:nvGraphicFramePr>
        <p:xfrm>
          <a:off x="9914" y="943550"/>
          <a:ext cx="10050357" cy="55396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" name="Rectángulo 16"/>
          <p:cNvSpPr/>
          <p:nvPr/>
        </p:nvSpPr>
        <p:spPr>
          <a:xfrm>
            <a:off x="-13606" y="-4003"/>
            <a:ext cx="9924015" cy="4801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es-CO" sz="2800" b="1" dirty="0">
                <a:solidFill>
                  <a:srgbClr val="44546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de inversiones producción – Actividad Incremental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5F65DC7F-463D-495B-AEA5-15ACD19124EA}"/>
              </a:ext>
            </a:extLst>
          </p:cNvPr>
          <p:cNvSpPr txBox="1"/>
          <p:nvPr/>
        </p:nvSpPr>
        <p:spPr>
          <a:xfrm>
            <a:off x="10121878" y="1932021"/>
            <a:ext cx="1837161" cy="769441"/>
          </a:xfrm>
          <a:prstGeom prst="rect">
            <a:avLst/>
          </a:prstGeom>
          <a:noFill/>
          <a:ln>
            <a:solidFill>
              <a:srgbClr val="23ADCE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8 </a:t>
            </a:r>
            <a:r>
              <a:rPr lang="es-ES" sz="1100" dirty="0" err="1">
                <a:solidFill>
                  <a:prstClr val="black"/>
                </a:solidFill>
              </a:rPr>
              <a:t>wo´s</a:t>
            </a:r>
            <a:r>
              <a:rPr lang="es-ES" sz="1100" dirty="0">
                <a:solidFill>
                  <a:prstClr val="black"/>
                </a:solidFill>
              </a:rPr>
              <a:t> 2021 – Zona Nor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100" dirty="0" err="1">
                <a:solidFill>
                  <a:prstClr val="black"/>
                </a:solidFill>
              </a:rPr>
              <a:t>Asoc</a:t>
            </a:r>
            <a:r>
              <a:rPr lang="es-ES" sz="1100" dirty="0">
                <a:solidFill>
                  <a:prstClr val="black"/>
                </a:solidFill>
              </a:rPr>
              <a:t> Guajira: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prstClr val="black"/>
                </a:solidFill>
              </a:rPr>
              <a:t>Arjona: 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prstClr val="black"/>
                </a:solidFill>
              </a:rPr>
              <a:t>Boquete: 1 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98AFFF81-2FCC-46F0-B1BD-B2AF3C919DFE}"/>
              </a:ext>
            </a:extLst>
          </p:cNvPr>
          <p:cNvSpPr txBox="1"/>
          <p:nvPr/>
        </p:nvSpPr>
        <p:spPr>
          <a:xfrm>
            <a:off x="10121879" y="2790363"/>
            <a:ext cx="1837161" cy="1107996"/>
          </a:xfrm>
          <a:prstGeom prst="rect">
            <a:avLst/>
          </a:prstGeom>
          <a:noFill/>
          <a:ln>
            <a:solidFill>
              <a:srgbClr val="23ADCE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s-ES" sz="1100" dirty="0">
                <a:solidFill>
                  <a:prstClr val="black"/>
                </a:solidFill>
              </a:rPr>
              <a:t>13 </a:t>
            </a:r>
            <a:r>
              <a:rPr lang="es-ES" sz="1100" dirty="0" err="1">
                <a:solidFill>
                  <a:prstClr val="black"/>
                </a:solidFill>
              </a:rPr>
              <a:t>wo´s</a:t>
            </a:r>
            <a:r>
              <a:rPr lang="es-ES" sz="1100" dirty="0">
                <a:solidFill>
                  <a:prstClr val="black"/>
                </a:solidFill>
              </a:rPr>
              <a:t> 2021 – Zona S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prstClr val="black"/>
                </a:solidFill>
              </a:rPr>
              <a:t>LCN: 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prstClr val="black"/>
                </a:solidFill>
              </a:rPr>
              <a:t>LH: 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prstClr val="black"/>
                </a:solidFill>
              </a:rPr>
              <a:t>ESP: 5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prstClr val="black"/>
                </a:solidFill>
              </a:rPr>
              <a:t>GUA: 4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" sz="1100" dirty="0">
                <a:solidFill>
                  <a:prstClr val="black"/>
                </a:solidFill>
              </a:rPr>
              <a:t>Toldado: 1</a:t>
            </a:r>
            <a:endParaRPr lang="es-CO" sz="1100" dirty="0">
              <a:solidFill>
                <a:prstClr val="black"/>
              </a:solidFill>
            </a:endParaRPr>
          </a:p>
        </p:txBody>
      </p:sp>
      <p:sp>
        <p:nvSpPr>
          <p:cNvPr id="32" name="Bocadillo: rectángulo 31">
            <a:extLst>
              <a:ext uri="{FF2B5EF4-FFF2-40B4-BE49-F238E27FC236}">
                <a16:creationId xmlns:a16="http://schemas.microsoft.com/office/drawing/2014/main" id="{BAE1A394-3845-4C94-B828-D95B60435BA4}"/>
              </a:ext>
            </a:extLst>
          </p:cNvPr>
          <p:cNvSpPr/>
          <p:nvPr/>
        </p:nvSpPr>
        <p:spPr>
          <a:xfrm>
            <a:off x="1641096" y="1566414"/>
            <a:ext cx="1171632" cy="507831"/>
          </a:xfrm>
          <a:prstGeom prst="wedgeRectCallout">
            <a:avLst>
              <a:gd name="adj1" fmla="val -20708"/>
              <a:gd name="adj2" fmla="val 182522"/>
            </a:avLst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000">
              <a:solidFill>
                <a:prstClr val="white"/>
              </a:solidFill>
            </a:endParaRPr>
          </a:p>
        </p:txBody>
      </p:sp>
      <p:sp>
        <p:nvSpPr>
          <p:cNvPr id="35" name="Bocadillo: rectángulo 34">
            <a:extLst>
              <a:ext uri="{FF2B5EF4-FFF2-40B4-BE49-F238E27FC236}">
                <a16:creationId xmlns:a16="http://schemas.microsoft.com/office/drawing/2014/main" id="{866FB537-8AA8-4A42-9EC0-C93532DAC57A}"/>
              </a:ext>
            </a:extLst>
          </p:cNvPr>
          <p:cNvSpPr/>
          <p:nvPr/>
        </p:nvSpPr>
        <p:spPr>
          <a:xfrm>
            <a:off x="6778216" y="2016772"/>
            <a:ext cx="1323363" cy="725900"/>
          </a:xfrm>
          <a:prstGeom prst="wedgeRectCallout">
            <a:avLst>
              <a:gd name="adj1" fmla="val -42243"/>
              <a:gd name="adj2" fmla="val 96562"/>
            </a:avLst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000">
              <a:solidFill>
                <a:prstClr val="white"/>
              </a:solidFill>
            </a:endParaRPr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34076581-5422-4A18-963E-96200B148DBD}"/>
              </a:ext>
            </a:extLst>
          </p:cNvPr>
          <p:cNvSpPr txBox="1"/>
          <p:nvPr/>
        </p:nvSpPr>
        <p:spPr>
          <a:xfrm>
            <a:off x="6839822" y="1983438"/>
            <a:ext cx="120015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>
                <a:solidFill>
                  <a:prstClr val="black"/>
                </a:solidFill>
              </a:rPr>
              <a:t>5 pozos Espinal</a:t>
            </a:r>
          </a:p>
          <a:p>
            <a:r>
              <a:rPr lang="es-ES" sz="900" dirty="0">
                <a:solidFill>
                  <a:prstClr val="black"/>
                </a:solidFill>
              </a:rPr>
              <a:t>4 pozos LH</a:t>
            </a:r>
          </a:p>
          <a:p>
            <a:r>
              <a:rPr lang="es-ES" sz="900" dirty="0">
                <a:solidFill>
                  <a:prstClr val="black"/>
                </a:solidFill>
              </a:rPr>
              <a:t>5 </a:t>
            </a:r>
            <a:r>
              <a:rPr lang="es-CO" sz="900" dirty="0">
                <a:solidFill>
                  <a:prstClr val="black"/>
                </a:solidFill>
              </a:rPr>
              <a:t>pozos </a:t>
            </a:r>
            <a:r>
              <a:rPr lang="es-CO" sz="900" dirty="0" err="1">
                <a:solidFill>
                  <a:prstClr val="black"/>
                </a:solidFill>
              </a:rPr>
              <a:t>Cicuco</a:t>
            </a:r>
            <a:endParaRPr lang="es-CO" sz="900" dirty="0">
              <a:solidFill>
                <a:prstClr val="black"/>
              </a:solidFill>
            </a:endParaRPr>
          </a:p>
          <a:p>
            <a:r>
              <a:rPr lang="es-ES" sz="900" dirty="0">
                <a:solidFill>
                  <a:prstClr val="black"/>
                </a:solidFill>
              </a:rPr>
              <a:t>4 pozos  LCN</a:t>
            </a:r>
          </a:p>
          <a:p>
            <a:r>
              <a:rPr lang="es-ES" sz="900" dirty="0">
                <a:solidFill>
                  <a:prstClr val="black"/>
                </a:solidFill>
              </a:rPr>
              <a:t>2 pozos Toldado</a:t>
            </a:r>
            <a:endParaRPr lang="es-CO" sz="900" dirty="0">
              <a:solidFill>
                <a:prstClr val="black"/>
              </a:solidFill>
            </a:endParaRPr>
          </a:p>
        </p:txBody>
      </p:sp>
      <p:sp>
        <p:nvSpPr>
          <p:cNvPr id="37" name="Bocadillo: rectángulo 36">
            <a:extLst>
              <a:ext uri="{FF2B5EF4-FFF2-40B4-BE49-F238E27FC236}">
                <a16:creationId xmlns:a16="http://schemas.microsoft.com/office/drawing/2014/main" id="{D342437B-C7C7-427E-A281-668273260C53}"/>
              </a:ext>
            </a:extLst>
          </p:cNvPr>
          <p:cNvSpPr/>
          <p:nvPr/>
        </p:nvSpPr>
        <p:spPr>
          <a:xfrm>
            <a:off x="4511741" y="2145362"/>
            <a:ext cx="1063076" cy="460981"/>
          </a:xfrm>
          <a:prstGeom prst="wedgeRectCallout">
            <a:avLst>
              <a:gd name="adj1" fmla="val -59924"/>
              <a:gd name="adj2" fmla="val 238075"/>
            </a:avLst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000">
              <a:solidFill>
                <a:prstClr val="white"/>
              </a:solidFill>
            </a:endParaRPr>
          </a:p>
        </p:txBody>
      </p:sp>
      <p:sp>
        <p:nvSpPr>
          <p:cNvPr id="38" name="Bocadillo: rectángulo 37">
            <a:extLst>
              <a:ext uri="{FF2B5EF4-FFF2-40B4-BE49-F238E27FC236}">
                <a16:creationId xmlns:a16="http://schemas.microsoft.com/office/drawing/2014/main" id="{389C3F2B-BEF2-4B0A-A1EB-D52CE34B9399}"/>
              </a:ext>
            </a:extLst>
          </p:cNvPr>
          <p:cNvSpPr/>
          <p:nvPr/>
        </p:nvSpPr>
        <p:spPr>
          <a:xfrm>
            <a:off x="2812728" y="2164974"/>
            <a:ext cx="1323363" cy="580964"/>
          </a:xfrm>
          <a:prstGeom prst="wedgeRectCallout">
            <a:avLst>
              <a:gd name="adj1" fmla="val -14979"/>
              <a:gd name="adj2" fmla="val 118583"/>
            </a:avLst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CO" sz="2000">
              <a:solidFill>
                <a:prstClr val="white"/>
              </a:solidFill>
            </a:endParaRPr>
          </a:p>
        </p:txBody>
      </p:sp>
      <p:sp>
        <p:nvSpPr>
          <p:cNvPr id="46" name="CuadroTexto 45">
            <a:extLst>
              <a:ext uri="{FF2B5EF4-FFF2-40B4-BE49-F238E27FC236}">
                <a16:creationId xmlns:a16="http://schemas.microsoft.com/office/drawing/2014/main" id="{16D8989B-041D-4E44-96DB-28FB6E0CB758}"/>
              </a:ext>
            </a:extLst>
          </p:cNvPr>
          <p:cNvSpPr txBox="1"/>
          <p:nvPr/>
        </p:nvSpPr>
        <p:spPr>
          <a:xfrm>
            <a:off x="2870713" y="2164974"/>
            <a:ext cx="12001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>
                <a:solidFill>
                  <a:prstClr val="black"/>
                </a:solidFill>
              </a:rPr>
              <a:t>14 pozos </a:t>
            </a:r>
            <a:r>
              <a:rPr lang="es-ES" sz="900" dirty="0" err="1">
                <a:solidFill>
                  <a:prstClr val="black"/>
                </a:solidFill>
              </a:rPr>
              <a:t>Guarrojo</a:t>
            </a:r>
            <a:endParaRPr lang="es-ES" sz="900" dirty="0">
              <a:solidFill>
                <a:prstClr val="black"/>
              </a:solidFill>
            </a:endParaRPr>
          </a:p>
          <a:p>
            <a:r>
              <a:rPr lang="es-ES" sz="900" dirty="0">
                <a:solidFill>
                  <a:prstClr val="black"/>
                </a:solidFill>
              </a:rPr>
              <a:t>1</a:t>
            </a:r>
            <a:r>
              <a:rPr lang="es-CO" sz="900" dirty="0">
                <a:solidFill>
                  <a:prstClr val="black"/>
                </a:solidFill>
              </a:rPr>
              <a:t> pozo Toldado</a:t>
            </a:r>
          </a:p>
          <a:p>
            <a:r>
              <a:rPr lang="es-CO" sz="900" dirty="0">
                <a:solidFill>
                  <a:prstClr val="black"/>
                </a:solidFill>
              </a:rPr>
              <a:t>4 pozos LCN</a:t>
            </a:r>
          </a:p>
        </p:txBody>
      </p:sp>
      <p:sp>
        <p:nvSpPr>
          <p:cNvPr id="47" name="CuadroTexto 46">
            <a:extLst>
              <a:ext uri="{FF2B5EF4-FFF2-40B4-BE49-F238E27FC236}">
                <a16:creationId xmlns:a16="http://schemas.microsoft.com/office/drawing/2014/main" id="{F5D80DBE-4618-4834-8895-AA0B54386C2A}"/>
              </a:ext>
            </a:extLst>
          </p:cNvPr>
          <p:cNvSpPr txBox="1"/>
          <p:nvPr/>
        </p:nvSpPr>
        <p:spPr>
          <a:xfrm>
            <a:off x="100525" y="1382313"/>
            <a:ext cx="120015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>
                <a:solidFill>
                  <a:prstClr val="black"/>
                </a:solidFill>
              </a:rPr>
              <a:t>23 pozos </a:t>
            </a:r>
            <a:r>
              <a:rPr lang="es-ES" sz="900" dirty="0" err="1">
                <a:solidFill>
                  <a:prstClr val="black"/>
                </a:solidFill>
              </a:rPr>
              <a:t>Guarrojo</a:t>
            </a:r>
            <a:endParaRPr lang="es-ES" sz="900" dirty="0">
              <a:solidFill>
                <a:prstClr val="black"/>
              </a:solidFill>
            </a:endParaRPr>
          </a:p>
          <a:p>
            <a:r>
              <a:rPr lang="es-ES" sz="900" dirty="0">
                <a:solidFill>
                  <a:prstClr val="black"/>
                </a:solidFill>
              </a:rPr>
              <a:t>1 pozo Toldado</a:t>
            </a:r>
          </a:p>
          <a:p>
            <a:r>
              <a:rPr lang="es-ES" sz="900" dirty="0">
                <a:solidFill>
                  <a:prstClr val="black"/>
                </a:solidFill>
              </a:rPr>
              <a:t>1</a:t>
            </a:r>
            <a:r>
              <a:rPr lang="es-CO" sz="900" dirty="0">
                <a:solidFill>
                  <a:prstClr val="black"/>
                </a:solidFill>
              </a:rPr>
              <a:t> pozo Mamey</a:t>
            </a:r>
          </a:p>
        </p:txBody>
      </p:sp>
      <p:sp>
        <p:nvSpPr>
          <p:cNvPr id="48" name="CuadroTexto 47">
            <a:extLst>
              <a:ext uri="{FF2B5EF4-FFF2-40B4-BE49-F238E27FC236}">
                <a16:creationId xmlns:a16="http://schemas.microsoft.com/office/drawing/2014/main" id="{44AA1BDC-2278-4AA3-A15F-C3938F094EF7}"/>
              </a:ext>
            </a:extLst>
          </p:cNvPr>
          <p:cNvSpPr txBox="1"/>
          <p:nvPr/>
        </p:nvSpPr>
        <p:spPr>
          <a:xfrm>
            <a:off x="4493689" y="2260436"/>
            <a:ext cx="133598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>
                <a:solidFill>
                  <a:prstClr val="black"/>
                </a:solidFill>
              </a:rPr>
              <a:t>17 pozos </a:t>
            </a:r>
            <a:r>
              <a:rPr lang="es-ES" sz="900" dirty="0" err="1">
                <a:solidFill>
                  <a:prstClr val="black"/>
                </a:solidFill>
              </a:rPr>
              <a:t>Guarrojo</a:t>
            </a:r>
            <a:endParaRPr lang="es-ES" sz="900" dirty="0">
              <a:solidFill>
                <a:prstClr val="black"/>
              </a:solidFill>
            </a:endParaRP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7F717F4A-FF3E-4D96-BEF6-DF31B1032744}"/>
              </a:ext>
            </a:extLst>
          </p:cNvPr>
          <p:cNvSpPr txBox="1"/>
          <p:nvPr/>
        </p:nvSpPr>
        <p:spPr>
          <a:xfrm>
            <a:off x="1662781" y="1635663"/>
            <a:ext cx="12001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>
                <a:solidFill>
                  <a:prstClr val="black"/>
                </a:solidFill>
              </a:rPr>
              <a:t>20 pozos </a:t>
            </a:r>
            <a:r>
              <a:rPr lang="es-ES" sz="900" dirty="0" err="1">
                <a:solidFill>
                  <a:prstClr val="black"/>
                </a:solidFill>
              </a:rPr>
              <a:t>Guarrojo</a:t>
            </a:r>
            <a:endParaRPr lang="es-ES" sz="900" dirty="0">
              <a:solidFill>
                <a:prstClr val="black"/>
              </a:solidFill>
            </a:endParaRPr>
          </a:p>
          <a:p>
            <a:r>
              <a:rPr lang="es-ES" sz="900" dirty="0">
                <a:solidFill>
                  <a:prstClr val="black"/>
                </a:solidFill>
              </a:rPr>
              <a:t>1 pozo Mamey</a:t>
            </a:r>
            <a:endParaRPr lang="es-CO" sz="900" dirty="0">
              <a:solidFill>
                <a:prstClr val="black"/>
              </a:solidFill>
            </a:endParaRPr>
          </a:p>
        </p:txBody>
      </p:sp>
      <p:sp>
        <p:nvSpPr>
          <p:cNvPr id="50" name="Bocadillo: rectángulo 49">
            <a:extLst>
              <a:ext uri="{FF2B5EF4-FFF2-40B4-BE49-F238E27FC236}">
                <a16:creationId xmlns:a16="http://schemas.microsoft.com/office/drawing/2014/main" id="{7C9B9E76-F82A-483B-91C4-8E2CF9E651FA}"/>
              </a:ext>
            </a:extLst>
          </p:cNvPr>
          <p:cNvSpPr/>
          <p:nvPr/>
        </p:nvSpPr>
        <p:spPr>
          <a:xfrm>
            <a:off x="9914" y="1333165"/>
            <a:ext cx="1323363" cy="729166"/>
          </a:xfrm>
          <a:prstGeom prst="wedgeRectCallout">
            <a:avLst>
              <a:gd name="adj1" fmla="val -1238"/>
              <a:gd name="adj2" fmla="val 108826"/>
            </a:avLst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CO" sz="2000">
              <a:solidFill>
                <a:prstClr val="white"/>
              </a:solidFill>
            </a:endParaRPr>
          </a:p>
        </p:txBody>
      </p:sp>
      <p:sp>
        <p:nvSpPr>
          <p:cNvPr id="20" name="Bocadillo: rectángulo 34">
            <a:extLst>
              <a:ext uri="{FF2B5EF4-FFF2-40B4-BE49-F238E27FC236}">
                <a16:creationId xmlns:a16="http://schemas.microsoft.com/office/drawing/2014/main" id="{866FB537-8AA8-4A42-9EC0-C93532DAC57A}"/>
              </a:ext>
            </a:extLst>
          </p:cNvPr>
          <p:cNvSpPr/>
          <p:nvPr/>
        </p:nvSpPr>
        <p:spPr>
          <a:xfrm>
            <a:off x="8798515" y="4127507"/>
            <a:ext cx="1323363" cy="253915"/>
          </a:xfrm>
          <a:prstGeom prst="wedgeRectCallout">
            <a:avLst>
              <a:gd name="adj1" fmla="val -17913"/>
              <a:gd name="adj2" fmla="val 164014"/>
            </a:avLst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sz="2000">
              <a:solidFill>
                <a:prstClr val="white"/>
              </a:solidFill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34076581-5422-4A18-963E-96200B148DBD}"/>
              </a:ext>
            </a:extLst>
          </p:cNvPr>
          <p:cNvSpPr txBox="1"/>
          <p:nvPr/>
        </p:nvSpPr>
        <p:spPr>
          <a:xfrm>
            <a:off x="8860121" y="4150590"/>
            <a:ext cx="12001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900" dirty="0">
                <a:solidFill>
                  <a:prstClr val="black"/>
                </a:solidFill>
              </a:rPr>
              <a:t> 5 Pozos Espinal</a:t>
            </a:r>
          </a:p>
        </p:txBody>
      </p:sp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284A3CE1-C800-4150-8258-F630BEE3B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260689-DB54-4EEE-A46D-4DE975CA1A91}" type="slidenum">
              <a:rPr lang="es-CO" smtClean="0">
                <a:solidFill>
                  <a:prstClr val="black"/>
                </a:solidFill>
              </a:rPr>
              <a:pPr/>
              <a:t>9</a:t>
            </a:fld>
            <a:endParaRPr lang="es-CO" dirty="0">
              <a:solidFill>
                <a:prstClr val="black"/>
              </a:solidFill>
            </a:endParaRPr>
          </a:p>
        </p:txBody>
      </p:sp>
      <p:sp>
        <p:nvSpPr>
          <p:cNvPr id="27" name="Bocadillo: rectángulo 37">
            <a:extLst>
              <a:ext uri="{FF2B5EF4-FFF2-40B4-BE49-F238E27FC236}">
                <a16:creationId xmlns:a16="http://schemas.microsoft.com/office/drawing/2014/main" id="{389C3F2B-BEF2-4B0A-A1EB-D52CE34B9399}"/>
              </a:ext>
            </a:extLst>
          </p:cNvPr>
          <p:cNvSpPr/>
          <p:nvPr/>
        </p:nvSpPr>
        <p:spPr>
          <a:xfrm>
            <a:off x="5018460" y="2875263"/>
            <a:ext cx="1112711" cy="580964"/>
          </a:xfrm>
          <a:prstGeom prst="wedgeRectCallout">
            <a:avLst>
              <a:gd name="adj1" fmla="val -3301"/>
              <a:gd name="adj2" fmla="val 107499"/>
            </a:avLst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CO" sz="2000">
              <a:solidFill>
                <a:prstClr val="white"/>
              </a:solidFill>
            </a:endParaRPr>
          </a:p>
        </p:txBody>
      </p:sp>
      <p:sp>
        <p:nvSpPr>
          <p:cNvPr id="28" name="CuadroTexto 45">
            <a:extLst>
              <a:ext uri="{FF2B5EF4-FFF2-40B4-BE49-F238E27FC236}">
                <a16:creationId xmlns:a16="http://schemas.microsoft.com/office/drawing/2014/main" id="{16D8989B-041D-4E44-96DB-28FB6E0CB758}"/>
              </a:ext>
            </a:extLst>
          </p:cNvPr>
          <p:cNvSpPr txBox="1"/>
          <p:nvPr/>
        </p:nvSpPr>
        <p:spPr>
          <a:xfrm>
            <a:off x="5018461" y="2935243"/>
            <a:ext cx="111271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CO" sz="900" dirty="0">
                <a:solidFill>
                  <a:prstClr val="black"/>
                </a:solidFill>
              </a:rPr>
              <a:t>5 pozos Espinal</a:t>
            </a:r>
          </a:p>
          <a:p>
            <a:r>
              <a:rPr lang="es-CO" sz="900" dirty="0">
                <a:solidFill>
                  <a:prstClr val="black"/>
                </a:solidFill>
              </a:rPr>
              <a:t>4 pozos LH</a:t>
            </a:r>
          </a:p>
          <a:p>
            <a:r>
              <a:rPr lang="es-CO" sz="900" dirty="0">
                <a:solidFill>
                  <a:prstClr val="black"/>
                </a:solidFill>
              </a:rPr>
              <a:t>5 pozos en </a:t>
            </a:r>
            <a:r>
              <a:rPr lang="es-CO" sz="900" dirty="0" err="1">
                <a:solidFill>
                  <a:prstClr val="black"/>
                </a:solidFill>
              </a:rPr>
              <a:t>Cicuco</a:t>
            </a:r>
            <a:endParaRPr lang="es-CO" sz="900" dirty="0">
              <a:solidFill>
                <a:prstClr val="black"/>
              </a:solidFill>
            </a:endParaRPr>
          </a:p>
        </p:txBody>
      </p:sp>
      <p:sp>
        <p:nvSpPr>
          <p:cNvPr id="29" name="Bocadillo: rectángulo 34">
            <a:extLst>
              <a:ext uri="{FF2B5EF4-FFF2-40B4-BE49-F238E27FC236}">
                <a16:creationId xmlns:a16="http://schemas.microsoft.com/office/drawing/2014/main" id="{866FB537-8AA8-4A42-9EC0-C93532DAC57A}"/>
              </a:ext>
            </a:extLst>
          </p:cNvPr>
          <p:cNvSpPr/>
          <p:nvPr/>
        </p:nvSpPr>
        <p:spPr>
          <a:xfrm>
            <a:off x="7291055" y="4032793"/>
            <a:ext cx="1298002" cy="253915"/>
          </a:xfrm>
          <a:prstGeom prst="wedgeRectCallout">
            <a:avLst>
              <a:gd name="adj1" fmla="val 1931"/>
              <a:gd name="adj2" fmla="val 199519"/>
            </a:avLst>
          </a:prstGeom>
          <a:noFill/>
          <a:ln>
            <a:solidFill>
              <a:schemeClr val="bg2">
                <a:lumMod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s-CO" sz="2000">
              <a:solidFill>
                <a:prstClr val="white"/>
              </a:solidFill>
            </a:endParaRPr>
          </a:p>
        </p:txBody>
      </p:sp>
      <p:sp>
        <p:nvSpPr>
          <p:cNvPr id="30" name="CuadroTexto 20">
            <a:extLst>
              <a:ext uri="{FF2B5EF4-FFF2-40B4-BE49-F238E27FC236}">
                <a16:creationId xmlns:a16="http://schemas.microsoft.com/office/drawing/2014/main" id="{34076581-5422-4A18-963E-96200B148DBD}"/>
              </a:ext>
            </a:extLst>
          </p:cNvPr>
          <p:cNvSpPr txBox="1"/>
          <p:nvPr/>
        </p:nvSpPr>
        <p:spPr>
          <a:xfrm>
            <a:off x="7411907" y="4055876"/>
            <a:ext cx="11771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s-ES" sz="900" dirty="0">
                <a:solidFill>
                  <a:prstClr val="black"/>
                </a:solidFill>
              </a:rPr>
              <a:t> 5 Pozos Espinal</a:t>
            </a:r>
          </a:p>
        </p:txBody>
      </p:sp>
    </p:spTree>
    <p:extLst>
      <p:ext uri="{BB962C8B-B14F-4D97-AF65-F5344CB8AC3E}">
        <p14:creationId xmlns:p14="http://schemas.microsoft.com/office/powerpoint/2010/main" val="4830256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41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9&quot;&gt;&lt;elem m_fUsage=&quot;4.48845218859720596072E+00&quot;&gt;&lt;m_msothmcolidx val=&quot;0&quot;/&gt;&lt;m_rgb r=&quot;0E&quot; g=&quot;B6&quot; b=&quot;D3&quot;/&gt;&lt;m_nBrightness endver=&quot;26206&quot; val=&quot;0&quot;/&gt;&lt;/elem&gt;&lt;elem m_fUsage=&quot;2.44684899442515524370E+00&quot;&gt;&lt;m_msothmcolidx val=&quot;0&quot;/&gt;&lt;m_rgb r=&quot;2B&quot; g=&quot;38&quot; b=&quot;8F&quot;/&gt;&lt;m_nBrightness endver=&quot;26206&quot; val=&quot;0&quot;/&gt;&lt;/elem&gt;&lt;elem m_fUsage=&quot;8.10000000000000053291E-01&quot;&gt;&lt;m_msothmcolidx val=&quot;0&quot;/&gt;&lt;m_rgb r=&quot;49&quot; g=&quot;D3&quot; b=&quot;21&quot;/&gt;&lt;m_nBrightness endver=&quot;26206&quot; val=&quot;0&quot;/&gt;&lt;/elem&gt;&lt;elem m_fUsage=&quot;7.57328978785793971440E-01&quot;&gt;&lt;m_msothmcolidx val=&quot;0&quot;/&gt;&lt;m_rgb r=&quot;4D&quot; g=&quot;C7&quot; b=&quot;2E&quot;/&gt;&lt;m_nBrightness endver=&quot;26206&quot; val=&quot;0&quot;/&gt;&lt;/elem&gt;&lt;elem m_fUsage=&quot;7.29000000000000092371E-01&quot;&gt;&lt;m_msothmcolidx val=&quot;0&quot;/&gt;&lt;m_rgb r=&quot;6C&quot; g=&quot;BF&quot; b=&quot;44&quot;/&gt;&lt;m_nBrightness endver=&quot;26206&quot; val=&quot;0&quot;/&gt;&lt;/elem&gt;&lt;elem m_fUsage=&quot;2.82429536481000165171E-01&quot;&gt;&lt;m_msothmcolidx val=&quot;0&quot;/&gt;&lt;m_rgb r=&quot;E1&quot; g=&quot;1E&quot; b=&quot;09&quot;/&gt;&lt;m_nBrightness endver=&quot;26206&quot; val=&quot;0&quot;/&gt;&lt;/elem&gt;&lt;elem m_fUsage=&quot;2.64928605682183460068E-01&quot;&gt;&lt;m_msothmcolidx val=&quot;0&quot;/&gt;&lt;m_rgb r=&quot;0A&quot; g=&quot;78&quot; b=&quot;8B&quot;/&gt;&lt;m_nBrightness endver=&quot;26206&quot; val=&quot;0&quot;/&gt;&lt;/elem&gt;&lt;elem m_fUsage=&quot;1.10269198638462684325E-01&quot;&gt;&lt;m_msothmcolidx val=&quot;0&quot;/&gt;&lt;m_rgb r=&quot;10&quot; g=&quot;28&quot; b=&quot;69&quot;/&gt;&lt;m_nBrightness endver=&quot;26206&quot; val=&quot;0&quot;/&gt;&lt;/elem&gt;&lt;elem m_fUsage=&quot;1.01192447882231376100E-01&quot;&gt;&lt;m_msothmcolidx val=&quot;0&quot;/&gt;&lt;m_rgb r=&quot;3D&quot; g=&quot;B0&quot; b=&quot;AB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1XAiyTVKA_SNfVtJ7f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1XAiyTVKA_SNfVtJ7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YSjPa_Rqyx.cUJk6Zw8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veR2CRWaLrzAL.xL0i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veR2CRWaLrzAL.xL0i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qQmkUZTMeoFCZwTf42b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X.JhRW7_UvYHhf8D6a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tWb0HCo64tGn3F3XKvZ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Lbmvmod7VeG7Mvgy_ST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tMNl8exemw9OQikmKNy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tMNl8exemw9OQikmKNy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awrMutYU0rsnLh61yDd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8.NFRevokJdx96xr3b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BrGvBmExeoAh44ynYZy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BrGvBmExeoAh44ynYZy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m8.NFRevokJdx96xr3b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1XAiyTVKA_SNfVtJ7f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1XAiyTVKA_SNfVtJ7f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YSjPa_Rqyx.cUJk6Zw8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veR2CRWaLrzAL.xL0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veR2CRWaLrzAL.xL0i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qQmkUZTMeoFCZwTf42b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1XAiyTVKA_SNfVtJ7f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1XAiyTVKA_SNfVtJ7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YSjPa_Rqyx.cUJk6Zw8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veR2CRWaLrzAL.xL0i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veR2CRWaLrzAL.xL0i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qQmkUZTMeoFCZwTf42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1XAiyTVKA_SNfVtJ7f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O1XAiyTVKA_SNfVtJ7f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YSjPa_Rqyx.cUJk6Zw8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veR2CRWaLrzAL.xL0i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HveR2CRWaLrzAL.xL0i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CPgoYFPai7QbrNA32Ov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heme/theme1.xml><?xml version="1.0" encoding="utf-8"?>
<a:theme xmlns:a="http://schemas.openxmlformats.org/drawingml/2006/main" name="Firm Format - template_Blue">
  <a:themeElements>
    <a:clrScheme name="Custom 21">
      <a:dk1>
        <a:srgbClr val="3F3F3F"/>
      </a:dk1>
      <a:lt1>
        <a:srgbClr val="FFFFFF"/>
      </a:lt1>
      <a:dk2>
        <a:srgbClr val="6CBF44"/>
      </a:dk2>
      <a:lt2>
        <a:srgbClr val="FFFFFF"/>
      </a:lt2>
      <a:accent1>
        <a:srgbClr val="F2F2F2"/>
      </a:accent1>
      <a:accent2>
        <a:srgbClr val="25A9E0"/>
      </a:accent2>
      <a:accent3>
        <a:srgbClr val="0065BD"/>
      </a:accent3>
      <a:accent4>
        <a:srgbClr val="35AEBC"/>
      </a:accent4>
      <a:accent5>
        <a:srgbClr val="6CBF44"/>
      </a:accent5>
      <a:accent6>
        <a:srgbClr val="808080"/>
      </a:accent6>
      <a:hlink>
        <a:srgbClr val="35AEBC"/>
      </a:hlink>
      <a:folHlink>
        <a:srgbClr val="6CBF4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9429VD-Template Hocol Feb2019.pptx" id="{24F4A2FC-5CEC-4471-A53D-79F42D38FD69}" vid="{54FD31BC-332C-46B4-A981-41DB41CB9D29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21">
      <a:dk1>
        <a:srgbClr val="3F3F3F"/>
      </a:dk1>
      <a:lt1>
        <a:srgbClr val="FFFFFF"/>
      </a:lt1>
      <a:dk2>
        <a:srgbClr val="6CBF44"/>
      </a:dk2>
      <a:lt2>
        <a:srgbClr val="FFFFFF"/>
      </a:lt2>
      <a:accent1>
        <a:srgbClr val="F2F2F2"/>
      </a:accent1>
      <a:accent2>
        <a:srgbClr val="25A9E0"/>
      </a:accent2>
      <a:accent3>
        <a:srgbClr val="0065BD"/>
      </a:accent3>
      <a:accent4>
        <a:srgbClr val="35AEBC"/>
      </a:accent4>
      <a:accent5>
        <a:srgbClr val="6CBF44"/>
      </a:accent5>
      <a:accent6>
        <a:srgbClr val="808080"/>
      </a:accent6>
      <a:hlink>
        <a:srgbClr val="35AEBC"/>
      </a:hlink>
      <a:folHlink>
        <a:srgbClr val="6CBF4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9429VD-Template Hocol Feb2019.pptx" id="{24F4A2FC-5CEC-4471-A53D-79F42D38FD69}" vid="{54FD31BC-332C-46B4-A981-41DB41CB9D29}"/>
    </a:ext>
  </a:extLst>
</a:theme>
</file>

<file path=ppt/theme/theme3.xml><?xml version="1.0" encoding="utf-8"?>
<a:theme xmlns:a="http://schemas.openxmlformats.org/drawingml/2006/main" name="Firm Format - template_Contrast">
  <a:themeElements>
    <a:clrScheme name="Custom 21">
      <a:dk1>
        <a:srgbClr val="3F3F3F"/>
      </a:dk1>
      <a:lt1>
        <a:srgbClr val="FFFFFF"/>
      </a:lt1>
      <a:dk2>
        <a:srgbClr val="6CBF44"/>
      </a:dk2>
      <a:lt2>
        <a:srgbClr val="FFFFFF"/>
      </a:lt2>
      <a:accent1>
        <a:srgbClr val="F2F2F2"/>
      </a:accent1>
      <a:accent2>
        <a:srgbClr val="25A9E0"/>
      </a:accent2>
      <a:accent3>
        <a:srgbClr val="0065BD"/>
      </a:accent3>
      <a:accent4>
        <a:srgbClr val="35AEBC"/>
      </a:accent4>
      <a:accent5>
        <a:srgbClr val="6CBF44"/>
      </a:accent5>
      <a:accent6>
        <a:srgbClr val="808080"/>
      </a:accent6>
      <a:hlink>
        <a:srgbClr val="35AEBC"/>
      </a:hlink>
      <a:folHlink>
        <a:srgbClr val="6CBF4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9429VD-Template Hocol Feb2019.pptx" id="{24F4A2FC-5CEC-4471-A53D-79F42D38FD69}" vid="{54FD31BC-332C-46B4-A981-41DB41CB9D29}"/>
    </a:ext>
  </a:extLst>
</a:theme>
</file>

<file path=ppt/theme/theme4.xml><?xml version="1.0" encoding="utf-8"?>
<a:theme xmlns:a="http://schemas.openxmlformats.org/drawingml/2006/main" name="EY light background">
  <a:themeElements>
    <a:clrScheme name="Custom 8">
      <a:dk1>
        <a:srgbClr val="FFFFFF"/>
      </a:dk1>
      <a:lt1>
        <a:srgbClr val="2E2E38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Firm Format - template_Blue">
  <a:themeElements>
    <a:clrScheme name="Custom 21">
      <a:dk1>
        <a:srgbClr val="3F3F3F"/>
      </a:dk1>
      <a:lt1>
        <a:srgbClr val="FFFFFF"/>
      </a:lt1>
      <a:dk2>
        <a:srgbClr val="6CBF44"/>
      </a:dk2>
      <a:lt2>
        <a:srgbClr val="FFFFFF"/>
      </a:lt2>
      <a:accent1>
        <a:srgbClr val="F2F2F2"/>
      </a:accent1>
      <a:accent2>
        <a:srgbClr val="25A9E0"/>
      </a:accent2>
      <a:accent3>
        <a:srgbClr val="0065BD"/>
      </a:accent3>
      <a:accent4>
        <a:srgbClr val="35AEBC"/>
      </a:accent4>
      <a:accent5>
        <a:srgbClr val="6CBF44"/>
      </a:accent5>
      <a:accent6>
        <a:srgbClr val="808080"/>
      </a:accent6>
      <a:hlink>
        <a:srgbClr val="35AEBC"/>
      </a:hlink>
      <a:folHlink>
        <a:srgbClr val="6CBF4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9429VD-Template Hocol Feb2019.pptx" id="{24F4A2FC-5CEC-4471-A53D-79F42D38FD69}" vid="{54FD31BC-332C-46B4-A981-41DB41CB9D29}"/>
    </a:ext>
  </a:extLst>
</a:theme>
</file>

<file path=ppt/theme/theme6.xml><?xml version="1.0" encoding="utf-8"?>
<a:theme xmlns:a="http://schemas.openxmlformats.org/drawingml/2006/main" name="5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9_Tema de Office">
  <a:themeElements>
    <a:clrScheme name="Tema d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e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9852</TotalTime>
  <Words>1752</Words>
  <Application>Microsoft Office PowerPoint</Application>
  <PresentationFormat>Panorámica</PresentationFormat>
  <Paragraphs>266</Paragraphs>
  <Slides>17</Slides>
  <Notes>7</Notes>
  <HiddenSlides>0</HiddenSlides>
  <MMClips>0</MMClips>
  <ScaleCrop>false</ScaleCrop>
  <HeadingPairs>
    <vt:vector size="4" baseType="variant">
      <vt:variant>
        <vt:lpstr>Tema</vt:lpstr>
      </vt:variant>
      <vt:variant>
        <vt:i4>7</vt:i4>
      </vt:variant>
      <vt:variant>
        <vt:lpstr>Títulos de diapositiva</vt:lpstr>
      </vt:variant>
      <vt:variant>
        <vt:i4>17</vt:i4>
      </vt:variant>
    </vt:vector>
  </HeadingPairs>
  <TitlesOfParts>
    <vt:vector size="24" baseType="lpstr">
      <vt:lpstr>Firm Format - template_Blue</vt:lpstr>
      <vt:lpstr>1_Firm Format - template_Blue</vt:lpstr>
      <vt:lpstr>Firm Format - template_Contrast</vt:lpstr>
      <vt:lpstr>EY light background</vt:lpstr>
      <vt:lpstr>2_Firm Format - template_Blue</vt:lpstr>
      <vt:lpstr>5_Tema de Office</vt:lpstr>
      <vt:lpstr>9_Tema de Office</vt:lpstr>
      <vt:lpstr>Presentación de PowerPoint</vt:lpstr>
      <vt:lpstr>Presentación de PowerPoint</vt:lpstr>
      <vt:lpstr>Plan de Inversiones y Financiero 2021-2023 </vt:lpstr>
      <vt:lpstr>Resumen Plan de Inversiones 2021-2023</vt:lpstr>
      <vt:lpstr>Resumen Plan Financiero 2021-2023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lan de inversiones 2021-2023 Exploración  </vt:lpstr>
      <vt:lpstr>Plan de inversiones 2021-2023 Perforación</vt:lpstr>
      <vt:lpstr>Resultado Financiero Plan 2021-2023 </vt:lpstr>
      <vt:lpstr>Presentación de PowerPoint</vt:lpstr>
      <vt:lpstr>Presentación de PowerPoint</vt:lpstr>
      <vt:lpstr>Conclusion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 de Microsoft Office</dc:creator>
  <cp:lastModifiedBy>Starchevich Rodriguez, Belen Maria Coromo</cp:lastModifiedBy>
  <cp:revision>1411</cp:revision>
  <dcterms:created xsi:type="dcterms:W3CDTF">2018-09-17T21:13:35Z</dcterms:created>
  <dcterms:modified xsi:type="dcterms:W3CDTF">2021-12-14T01:37:07Z</dcterms:modified>
</cp:coreProperties>
</file>